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6.xml" ContentType="application/vnd.openxmlformats-officedocument.presentationml.notesSlide+xml"/>
  <Override PartName="/ppt/tags/tag81.xml" ContentType="application/vnd.openxmlformats-officedocument.presentationml.tags+xml"/>
  <Override PartName="/ppt/notesSlides/notesSlide7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8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9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10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11.xml" ContentType="application/vnd.openxmlformats-officedocument.presentationml.notesSlid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6"/>
  </p:notesMasterIdLst>
  <p:sldIdLst>
    <p:sldId id="256" r:id="rId2"/>
    <p:sldId id="467" r:id="rId3"/>
    <p:sldId id="525" r:id="rId4"/>
    <p:sldId id="1868" r:id="rId5"/>
    <p:sldId id="532" r:id="rId6"/>
    <p:sldId id="533" r:id="rId7"/>
    <p:sldId id="1864" r:id="rId8"/>
    <p:sldId id="531" r:id="rId9"/>
    <p:sldId id="1863" r:id="rId10"/>
    <p:sldId id="1869" r:id="rId11"/>
    <p:sldId id="1870" r:id="rId12"/>
    <p:sldId id="1865" r:id="rId13"/>
    <p:sldId id="1871" r:id="rId14"/>
    <p:sldId id="455" r:id="rId15"/>
  </p:sldIdLst>
  <p:sldSz cx="16560800" cy="8642350"/>
  <p:notesSz cx="16560800" cy="864235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Gilroy ExtraBold" panose="00000900000000000000" charset="-18"/>
      <p:bold r:id="rId21"/>
    </p:embeddedFont>
    <p:embeddedFont>
      <p:font typeface="Gilroy Light" panose="00000400000000000000" charset="-18"/>
      <p:regular r:id="rId22"/>
    </p:embeddedFont>
    <p:embeddedFont>
      <p:font typeface="Titillium Web" panose="00000500000000000000" pitchFamily="2" charset="-18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C0504D"/>
    <a:srgbClr val="888888"/>
    <a:srgbClr val="D99694"/>
    <a:srgbClr val="726E68"/>
    <a:srgbClr val="777777"/>
    <a:srgbClr val="BDB9B1"/>
    <a:srgbClr val="FFFFFF"/>
    <a:srgbClr val="9D9D9D"/>
    <a:srgbClr val="A9A6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siatka tabeli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30" autoAdjust="0"/>
    <p:restoredTop sz="95183" autoAdjust="0"/>
  </p:normalViewPr>
  <p:slideViewPr>
    <p:cSldViewPr snapToGrid="0">
      <p:cViewPr varScale="1">
        <p:scale>
          <a:sx n="82" d="100"/>
          <a:sy n="82" d="100"/>
        </p:scale>
        <p:origin x="144" y="41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gacki\Desktop\GALA%20LAUREAT&#211;W%20PERE&#321;%20CERAMIKI%20UE%202022\Nowy%20Arkusz%20programu%20Microsoft%20Exce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Arkusz1!$A$2</c:f>
              <c:strCache>
                <c:ptCount val="1"/>
                <c:pt idx="0">
                  <c:v>PRODUKCJ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kusz1!$B$1:$M$1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Arkusz1!$B$2:$M$2</c:f>
              <c:numCache>
                <c:formatCode>General</c:formatCode>
                <c:ptCount val="12"/>
                <c:pt idx="0">
                  <c:v>87</c:v>
                </c:pt>
                <c:pt idx="1">
                  <c:v>96</c:v>
                </c:pt>
                <c:pt idx="2">
                  <c:v>106</c:v>
                </c:pt>
                <c:pt idx="3">
                  <c:v>108</c:v>
                </c:pt>
                <c:pt idx="4">
                  <c:v>109</c:v>
                </c:pt>
                <c:pt idx="5">
                  <c:v>113</c:v>
                </c:pt>
                <c:pt idx="6">
                  <c:v>117</c:v>
                </c:pt>
                <c:pt idx="7">
                  <c:v>123</c:v>
                </c:pt>
                <c:pt idx="8">
                  <c:v>125</c:v>
                </c:pt>
                <c:pt idx="9">
                  <c:v>125</c:v>
                </c:pt>
                <c:pt idx="10">
                  <c:v>104</c:v>
                </c:pt>
                <c:pt idx="11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B3-40D1-ACCF-1C704818E3CE}"/>
            </c:ext>
          </c:extLst>
        </c:ser>
        <c:ser>
          <c:idx val="1"/>
          <c:order val="1"/>
          <c:tx>
            <c:strRef>
              <c:f>Arkusz1!$A$3</c:f>
              <c:strCache>
                <c:ptCount val="1"/>
                <c:pt idx="0">
                  <c:v>EXPOR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kusz1!$B$1:$M$1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Arkusz1!$B$3:$M$3</c:f>
              <c:numCache>
                <c:formatCode>General</c:formatCode>
                <c:ptCount val="12"/>
                <c:pt idx="0">
                  <c:v>33</c:v>
                </c:pt>
                <c:pt idx="1">
                  <c:v>36</c:v>
                </c:pt>
                <c:pt idx="2">
                  <c:v>42</c:v>
                </c:pt>
                <c:pt idx="3">
                  <c:v>48</c:v>
                </c:pt>
                <c:pt idx="4">
                  <c:v>42</c:v>
                </c:pt>
                <c:pt idx="5">
                  <c:v>42</c:v>
                </c:pt>
                <c:pt idx="6">
                  <c:v>46</c:v>
                </c:pt>
                <c:pt idx="7">
                  <c:v>45</c:v>
                </c:pt>
                <c:pt idx="8">
                  <c:v>43</c:v>
                </c:pt>
                <c:pt idx="9">
                  <c:v>50</c:v>
                </c:pt>
                <c:pt idx="10">
                  <c:v>58</c:v>
                </c:pt>
                <c:pt idx="11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B3-40D1-ACCF-1C704818E3CE}"/>
            </c:ext>
          </c:extLst>
        </c:ser>
        <c:ser>
          <c:idx val="2"/>
          <c:order val="2"/>
          <c:tx>
            <c:strRef>
              <c:f>Arkusz1!$A$4</c:f>
              <c:strCache>
                <c:ptCount val="1"/>
                <c:pt idx="0">
                  <c:v>IMPOR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kusz1!$B$1:$M$1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Arkusz1!$B$4:$M$4</c:f>
              <c:numCache>
                <c:formatCode>General</c:formatCode>
                <c:ptCount val="12"/>
                <c:pt idx="0">
                  <c:v>14</c:v>
                </c:pt>
                <c:pt idx="1">
                  <c:v>14</c:v>
                </c:pt>
                <c:pt idx="2">
                  <c:v>13</c:v>
                </c:pt>
                <c:pt idx="3">
                  <c:v>13</c:v>
                </c:pt>
                <c:pt idx="4">
                  <c:v>15</c:v>
                </c:pt>
                <c:pt idx="5">
                  <c:v>16</c:v>
                </c:pt>
                <c:pt idx="6">
                  <c:v>18</c:v>
                </c:pt>
                <c:pt idx="7">
                  <c:v>21</c:v>
                </c:pt>
                <c:pt idx="8">
                  <c:v>25</c:v>
                </c:pt>
                <c:pt idx="9">
                  <c:v>26</c:v>
                </c:pt>
                <c:pt idx="10">
                  <c:v>26</c:v>
                </c:pt>
                <c:pt idx="11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B3-40D1-ACCF-1C704818E3CE}"/>
            </c:ext>
          </c:extLst>
        </c:ser>
        <c:ser>
          <c:idx val="3"/>
          <c:order val="3"/>
          <c:tx>
            <c:strRef>
              <c:f>Arkusz1!$A$5</c:f>
              <c:strCache>
                <c:ptCount val="1"/>
                <c:pt idx="0">
                  <c:v>KONSUMPCJ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kusz1!$B$1:$M$1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Arkusz1!$B$5:$M$5</c:f>
              <c:numCache>
                <c:formatCode>General</c:formatCode>
                <c:ptCount val="12"/>
                <c:pt idx="0">
                  <c:v>65</c:v>
                </c:pt>
                <c:pt idx="1">
                  <c:v>71</c:v>
                </c:pt>
                <c:pt idx="2">
                  <c:v>78</c:v>
                </c:pt>
                <c:pt idx="3">
                  <c:v>75</c:v>
                </c:pt>
                <c:pt idx="4">
                  <c:v>79</c:v>
                </c:pt>
                <c:pt idx="5">
                  <c:v>87</c:v>
                </c:pt>
                <c:pt idx="6">
                  <c:v>89</c:v>
                </c:pt>
                <c:pt idx="7">
                  <c:v>99</c:v>
                </c:pt>
                <c:pt idx="8">
                  <c:v>107</c:v>
                </c:pt>
                <c:pt idx="9">
                  <c:v>101</c:v>
                </c:pt>
                <c:pt idx="10">
                  <c:v>72</c:v>
                </c:pt>
                <c:pt idx="11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B3-40D1-ACCF-1C704818E3C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16733400"/>
        <c:axId val="416730120"/>
      </c:barChart>
      <c:catAx>
        <c:axId val="4167334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l-PL"/>
                  <a:t>Rok</a:t>
                </a:r>
                <a:r>
                  <a:rPr lang="pl-PL" baseline="0"/>
                  <a:t> produkcji</a:t>
                </a:r>
                <a:endParaRPr lang="pl-PL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416730120"/>
        <c:crosses val="autoZero"/>
        <c:auto val="1"/>
        <c:lblAlgn val="ctr"/>
        <c:lblOffset val="100"/>
        <c:noMultiLvlLbl val="0"/>
      </c:catAx>
      <c:valAx>
        <c:axId val="416730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l-PL"/>
                  <a:t>mln m</a:t>
                </a:r>
                <a:r>
                  <a:rPr lang="pl-PL" baseline="30000"/>
                  <a:t>2</a:t>
                </a:r>
                <a:endParaRPr lang="pl-PL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416733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031782065834282E-2"/>
          <c:y val="3.1901840490797549E-2"/>
          <c:w val="0.94892167990919407"/>
          <c:h val="0.93558282208588961"/>
        </c:manualLayout>
      </c:layout>
      <c:lineChart>
        <c:grouping val="standard"/>
        <c:varyColors val="0"/>
        <c:ser>
          <c:idx val="0"/>
          <c:order val="0"/>
          <c:spPr>
            <a:ln w="28575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8.5130533484676502E-3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F1F-48B2-BF56-67F351E247DF}"/>
                </c:ext>
              </c:extLst>
            </c:dLbl>
            <c:dLbl>
              <c:idx val="1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F1F-48B2-BF56-67F351E247DF}"/>
                </c:ext>
              </c:extLst>
            </c:dLbl>
            <c:dLbl>
              <c:idx val="2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F1F-48B2-BF56-67F351E247DF}"/>
                </c:ext>
              </c:extLst>
            </c:dLbl>
            <c:dLbl>
              <c:idx val="3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F1F-48B2-BF56-67F351E247DF}"/>
                </c:ext>
              </c:extLst>
            </c:dLbl>
            <c:dLbl>
              <c:idx val="4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F1F-48B2-BF56-67F351E247DF}"/>
                </c:ext>
              </c:extLst>
            </c:dLbl>
            <c:dLbl>
              <c:idx val="5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F1F-48B2-BF56-67F351E247DF}"/>
                </c:ext>
              </c:extLst>
            </c:dLbl>
            <c:dLbl>
              <c:idx val="6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F1F-48B2-BF56-67F351E247DF}"/>
                </c:ext>
              </c:extLst>
            </c:dLbl>
            <c:dLbl>
              <c:idx val="7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F1F-48B2-BF56-67F351E247DF}"/>
                </c:ext>
              </c:extLst>
            </c:dLbl>
            <c:dLbl>
              <c:idx val="8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F1F-48B2-BF56-67F351E247DF}"/>
                </c:ext>
              </c:extLst>
            </c:dLbl>
            <c:dLbl>
              <c:idx val="10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F1F-48B2-BF56-67F351E247DF}"/>
                </c:ext>
              </c:extLst>
            </c:dLbl>
            <c:dLbl>
              <c:idx val="11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F1F-48B2-BF56-67F351E247DF}"/>
                </c:ext>
              </c:extLst>
            </c:dLbl>
            <c:dLbl>
              <c:idx val="13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F1F-48B2-BF56-67F351E247DF}"/>
                </c:ext>
              </c:extLst>
            </c:dLbl>
            <c:dLbl>
              <c:idx val="14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F1F-48B2-BF56-67F351E247DF}"/>
                </c:ext>
              </c:extLst>
            </c:dLbl>
            <c:dLbl>
              <c:idx val="15"/>
              <c:layout>
                <c:manualLayout>
                  <c:x val="0"/>
                  <c:y val="-4.1717791411042947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rgbClr val="C00000"/>
                      </a:solidFill>
                      <a:latin typeface="Gilroy Light" panose="00000400000000000000" pitchFamily="50" charset="-18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F1F-48B2-BF56-67F351E247DF}"/>
                </c:ext>
              </c:extLst>
            </c:dLbl>
            <c:dLbl>
              <c:idx val="18"/>
              <c:layout>
                <c:manualLayout>
                  <c:x val="0"/>
                  <c:y val="-4.1717791411042947E-2"/>
                </c:manualLayout>
              </c:layout>
              <c:tx>
                <c:rich>
                  <a:bodyPr/>
                  <a:lstStyle/>
                  <a:p>
                    <a:pPr>
                      <a:defRPr>
                        <a:solidFill>
                          <a:srgbClr val="C00000"/>
                        </a:solidFill>
                        <a:latin typeface="Gilroy ExtraBold" panose="00000900000000000000" pitchFamily="50" charset="-18"/>
                      </a:defRPr>
                    </a:pPr>
                    <a:fld id="{A8DF6D8A-0DF8-46B6-8A6F-9AEEC0826790}" type="VALUE">
                      <a:rPr lang="en-US">
                        <a:solidFill>
                          <a:schemeClr val="bg1"/>
                        </a:solidFill>
                        <a:latin typeface="Gilroy ExtraBold" panose="00000900000000000000" pitchFamily="50" charset="-18"/>
                      </a:rPr>
                      <a:pPr>
                        <a:defRPr>
                          <a:solidFill>
                            <a:srgbClr val="C00000"/>
                          </a:solidFill>
                          <a:latin typeface="Gilroy ExtraBold" panose="00000900000000000000" pitchFamily="50" charset="-18"/>
                        </a:defRPr>
                      </a:pPr>
                      <a:t>[WARTOŚĆ]</a:t>
                    </a:fld>
                    <a:endParaRPr lang="pl-PL"/>
                  </a:p>
                </c:rich>
              </c:tx>
              <c:numFmt formatCode="0;&quot;-&quot;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8F1F-48B2-BF56-67F351E247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C00000"/>
                    </a:solidFill>
                    <a:latin typeface="Gilroy Light" panose="00000400000000000000" pitchFamily="50" charset="-18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T$1</c:f>
              <c:numCache>
                <c:formatCode>0;"-"0</c:formatCode>
                <c:ptCount val="20"/>
                <c:pt idx="0">
                  <c:v>95.113397260273928</c:v>
                </c:pt>
                <c:pt idx="1">
                  <c:v>88.53950684931506</c:v>
                </c:pt>
                <c:pt idx="2">
                  <c:v>67.418415300546457</c:v>
                </c:pt>
                <c:pt idx="3">
                  <c:v>79.726356164383574</c:v>
                </c:pt>
                <c:pt idx="4">
                  <c:v>103.30745205479452</c:v>
                </c:pt>
                <c:pt idx="5">
                  <c:v>67.983365079365115</c:v>
                </c:pt>
                <c:pt idx="6">
                  <c:v>90</c:v>
                </c:pt>
                <c:pt idx="7">
                  <c:v>95.403620071684557</c:v>
                </c:pt>
                <c:pt idx="8">
                  <c:v>122.29547222222222</c:v>
                </c:pt>
                <c:pt idx="9" formatCode="General">
                  <c:v>229.83237232574189</c:v>
                </c:pt>
                <c:pt idx="10">
                  <c:v>447.17326651305694</c:v>
                </c:pt>
                <c:pt idx="11">
                  <c:v>413.66741935483878</c:v>
                </c:pt>
                <c:pt idx="12" formatCode="General">
                  <c:v>399.22464285714295</c:v>
                </c:pt>
                <c:pt idx="13">
                  <c:v>656.25</c:v>
                </c:pt>
                <c:pt idx="14">
                  <c:v>514.77</c:v>
                </c:pt>
                <c:pt idx="15">
                  <c:v>440.37</c:v>
                </c:pt>
                <c:pt idx="16" formatCode="General">
                  <c:v>510.94</c:v>
                </c:pt>
                <c:pt idx="17" formatCode="General">
                  <c:v>848.58</c:v>
                </c:pt>
                <c:pt idx="18">
                  <c:v>1128.58</c:v>
                </c:pt>
                <c:pt idx="19">
                  <c:v>9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8F1F-48B2-BF56-67F351E247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63361664"/>
        <c:axId val="1"/>
      </c:lineChart>
      <c:catAx>
        <c:axId val="19633616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/>
          <a:lstStyle/>
          <a:p>
            <a:pPr>
              <a:defRPr sz="1200">
                <a:latin typeface="Gilroy Light" panose="00000400000000000000" pitchFamily="50" charset="-18"/>
              </a:defRPr>
            </a:pPr>
            <a:endParaRPr lang="pl-PL"/>
          </a:p>
        </c:txPr>
        <c:crossAx val="1963361664"/>
        <c:crosses val="min"/>
        <c:crossBetween val="midCat"/>
        <c:majorUnit val="100"/>
      </c:valAx>
    </c:plotArea>
    <c:plotVisOnly val="0"/>
    <c:dispBlanksAs val="gap"/>
    <c:showDLblsOverMax val="1"/>
  </c:chart>
  <c:txPr>
    <a:bodyPr/>
    <a:lstStyle/>
    <a:p>
      <a:pPr>
        <a:defRPr lang="en-US"/>
      </a:pPr>
      <a:endParaRPr lang="pl-P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271680077935671E-2"/>
          <c:y val="4.0158801662283694E-2"/>
          <c:w val="0.94892167990919407"/>
          <c:h val="0.93972445464982779"/>
        </c:manualLayout>
      </c:layout>
      <c:lineChart>
        <c:grouping val="standard"/>
        <c:varyColors val="0"/>
        <c:ser>
          <c:idx val="0"/>
          <c:order val="0"/>
          <c:spPr>
            <a:ln w="28575" algn="ctr">
              <a:solidFill>
                <a:srgbClr val="C0000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0925085130533484E-2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60E-48AE-A410-153D6718ACC4}"/>
                </c:ext>
              </c:extLst>
            </c:dLbl>
            <c:dLbl>
              <c:idx val="1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60E-48AE-A410-153D6718ACC4}"/>
                </c:ext>
              </c:extLst>
            </c:dLbl>
            <c:dLbl>
              <c:idx val="2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60E-48AE-A410-153D6718ACC4}"/>
                </c:ext>
              </c:extLst>
            </c:dLbl>
            <c:dLbl>
              <c:idx val="3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60E-48AE-A410-153D6718ACC4}"/>
                </c:ext>
              </c:extLst>
            </c:dLbl>
            <c:dLbl>
              <c:idx val="4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60E-48AE-A410-153D6718ACC4}"/>
                </c:ext>
              </c:extLst>
            </c:dLbl>
            <c:dLbl>
              <c:idx val="5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60E-48AE-A410-153D6718ACC4}"/>
                </c:ext>
              </c:extLst>
            </c:dLbl>
            <c:dLbl>
              <c:idx val="6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60E-48AE-A410-153D6718ACC4}"/>
                </c:ext>
              </c:extLst>
            </c:dLbl>
            <c:dLbl>
              <c:idx val="7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60E-48AE-A410-153D6718ACC4}"/>
                </c:ext>
              </c:extLst>
            </c:dLbl>
            <c:dLbl>
              <c:idx val="8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60E-48AE-A410-153D6718ACC4}"/>
                </c:ext>
              </c:extLst>
            </c:dLbl>
            <c:dLbl>
              <c:idx val="9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60E-48AE-A410-153D6718ACC4}"/>
                </c:ext>
              </c:extLst>
            </c:dLbl>
            <c:dLbl>
              <c:idx val="11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60E-48AE-A410-153D6718ACC4}"/>
                </c:ext>
              </c:extLst>
            </c:dLbl>
            <c:dLbl>
              <c:idx val="12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60E-48AE-A410-153D6718ACC4}"/>
                </c:ext>
              </c:extLst>
            </c:dLbl>
            <c:dLbl>
              <c:idx val="13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60E-48AE-A410-153D6718ACC4}"/>
                </c:ext>
              </c:extLst>
            </c:dLbl>
            <c:dLbl>
              <c:idx val="14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Century Gothic"/>
                      <a:cs typeface="Century Gothic"/>
                      <a:sym typeface="Century Gothic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60E-48AE-A410-153D6718ACC4}"/>
                </c:ext>
              </c:extLst>
            </c:dLbl>
            <c:dLbl>
              <c:idx val="15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60E-48AE-A410-153D6718ACC4}"/>
                </c:ext>
              </c:extLst>
            </c:dLbl>
            <c:dLbl>
              <c:idx val="17"/>
              <c:layout>
                <c:manualLayout>
                  <c:x val="0"/>
                  <c:y val="-3.9035591274397242E-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C00000"/>
                      </a:solidFill>
                      <a:latin typeface="Gilroy Light" panose="00000400000000000000" pitchFamily="50" charset="-18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160E-48AE-A410-153D6718ACC4}"/>
                </c:ext>
              </c:extLst>
            </c:dLbl>
            <c:dLbl>
              <c:idx val="18"/>
              <c:layout>
                <c:manualLayout>
                  <c:x val="0"/>
                  <c:y val="-3.9035591274397242E-2"/>
                </c:manualLayout>
              </c:layout>
              <c:tx>
                <c:rich>
                  <a:bodyPr wrap="none"/>
                  <a:lstStyle/>
                  <a:p>
                    <a:pPr>
                      <a:defRPr sz="1000" kern="1200">
                        <a:solidFill>
                          <a:srgbClr val="C00000"/>
                        </a:solidFill>
                        <a:latin typeface="Gilroy Light" panose="00000400000000000000" pitchFamily="50" charset="-18"/>
                        <a:ea typeface="Century Gothic"/>
                        <a:cs typeface="Century Gothic"/>
                        <a:sym typeface="Century Gothic"/>
                      </a:defRPr>
                    </a:pPr>
                    <a:fld id="{83BD6F41-60CE-4311-B86B-08A14088074A}" type="VALUE">
                      <a:rPr lang="en-US" sz="1000">
                        <a:solidFill>
                          <a:srgbClr val="C00000"/>
                        </a:solidFill>
                        <a:latin typeface="Gilroy Light" panose="00000400000000000000" pitchFamily="50" charset="-18"/>
                      </a:rPr>
                      <a:pPr>
                        <a:defRPr sz="1000" kern="1200">
                          <a:solidFill>
                            <a:srgbClr val="C00000"/>
                          </a:solidFill>
                          <a:latin typeface="Gilroy Light" panose="00000400000000000000" pitchFamily="50" charset="-18"/>
                          <a:ea typeface="Century Gothic"/>
                          <a:cs typeface="Century Gothic"/>
                          <a:sym typeface="Century Gothic"/>
                        </a:defRPr>
                      </a:pPr>
                      <a:t>[WARTOŚĆ]</a:t>
                    </a:fld>
                    <a:endParaRPr lang="pl-PL"/>
                  </a:p>
                </c:rich>
              </c:tx>
              <c:numFmt formatCode="0;&quot;-&quot;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160E-48AE-A410-153D6718ACC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solidFill>
                      <a:srgbClr val="C00000"/>
                    </a:solidFill>
                    <a:latin typeface="Gilroy Light" panose="00000400000000000000" pitchFamily="50" charset="-18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T$1</c:f>
              <c:numCache>
                <c:formatCode>0;"-"0</c:formatCode>
                <c:ptCount val="20"/>
                <c:pt idx="0">
                  <c:v>163.58000000000001</c:v>
                </c:pt>
                <c:pt idx="1">
                  <c:v>169.99</c:v>
                </c:pt>
                <c:pt idx="2">
                  <c:v>169.7</c:v>
                </c:pt>
                <c:pt idx="3">
                  <c:v>163.69999999999999</c:v>
                </c:pt>
                <c:pt idx="4">
                  <c:v>194.3</c:v>
                </c:pt>
                <c:pt idx="5">
                  <c:v>245.44</c:v>
                </c:pt>
                <c:pt idx="6">
                  <c:v>252.69</c:v>
                </c:pt>
                <c:pt idx="7">
                  <c:v>243.71</c:v>
                </c:pt>
                <c:pt idx="8">
                  <c:v>255.99</c:v>
                </c:pt>
                <c:pt idx="9">
                  <c:v>282.97000000000003</c:v>
                </c:pt>
                <c:pt idx="10" formatCode="General">
                  <c:v>325.26</c:v>
                </c:pt>
                <c:pt idx="11">
                  <c:v>666.9</c:v>
                </c:pt>
                <c:pt idx="12">
                  <c:v>525.89</c:v>
                </c:pt>
                <c:pt idx="13">
                  <c:v>683.59</c:v>
                </c:pt>
                <c:pt idx="14">
                  <c:v>584.45000000000005</c:v>
                </c:pt>
                <c:pt idx="15">
                  <c:v>662.4</c:v>
                </c:pt>
                <c:pt idx="16" formatCode="General">
                  <c:v>884.68</c:v>
                </c:pt>
                <c:pt idx="17">
                  <c:v>1125.94</c:v>
                </c:pt>
                <c:pt idx="18">
                  <c:v>1302.06</c:v>
                </c:pt>
                <c:pt idx="19">
                  <c:v>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160E-48AE-A410-153D6718AC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72739872"/>
        <c:axId val="1"/>
      </c:lineChart>
      <c:catAx>
        <c:axId val="2072739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Gilroy Light" panose="00000400000000000000" pitchFamily="50" charset="-18"/>
                <a:ea typeface="+mn-ea"/>
                <a:cs typeface="+mn-cs"/>
                <a:sym typeface="Century Gothic"/>
              </a:defRPr>
            </a:pPr>
            <a:endParaRPr lang="pl-PL"/>
          </a:p>
        </c:txPr>
        <c:crossAx val="2072739872"/>
        <c:crosses val="min"/>
        <c:crossBetween val="midCat"/>
        <c:majorUnit val="100"/>
      </c:valAx>
    </c:plotArea>
    <c:plotVisOnly val="0"/>
    <c:dispBlanksAs val="gap"/>
    <c:showDLblsOverMax val="1"/>
  </c:chart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4927</cdr:x>
      <cdr:y>0.82475</cdr:y>
    </cdr:from>
    <cdr:to>
      <cdr:x>1</cdr:x>
      <cdr:y>0.9738</cdr:y>
    </cdr:to>
    <cdr:sp macro="" textlink="">
      <cdr:nvSpPr>
        <cdr:cNvPr id="4" name="pole tekstowe 3">
          <a:extLst xmlns:a="http://schemas.openxmlformats.org/drawingml/2006/main">
            <a:ext uri="{FF2B5EF4-FFF2-40B4-BE49-F238E27FC236}">
              <a16:creationId xmlns:a16="http://schemas.microsoft.com/office/drawing/2014/main" id="{3594E2D9-1435-2030-325E-DCD2E14FB62D}"/>
            </a:ext>
          </a:extLst>
        </cdr:cNvPr>
        <cdr:cNvSpPr txBox="1"/>
      </cdr:nvSpPr>
      <cdr:spPr>
        <a:xfrm xmlns:a="http://schemas.openxmlformats.org/drawingml/2006/main">
          <a:off x="9154619" y="4064518"/>
          <a:ext cx="4945215" cy="7345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pl-PL" sz="1800" b="1" dirty="0"/>
            <a:t>Obecna cena: 506,80 PLN/MWh, dane z TGE,</a:t>
          </a:r>
        </a:p>
        <a:p xmlns:a="http://schemas.openxmlformats.org/drawingml/2006/main">
          <a:r>
            <a:rPr lang="pl-PL" sz="1800" b="1" dirty="0"/>
            <a:t>na dzień 19.02.2023r.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177088" cy="4333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9380538" y="0"/>
            <a:ext cx="7177087" cy="4333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45A1F7-2F90-42DC-A428-3C35561FCEB0}" type="datetimeFigureOut">
              <a:rPr lang="pl-PL" smtClean="0"/>
              <a:t>20.02.2023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5486400" y="1081088"/>
            <a:ext cx="5588000" cy="29162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1655763" y="4159250"/>
            <a:ext cx="13249275" cy="34036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208963"/>
            <a:ext cx="7177088" cy="4333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9380538" y="8208963"/>
            <a:ext cx="7177087" cy="4333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A6536F-92F5-44B4-AD84-B2FB284E368D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26460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383919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684207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312212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917515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49876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44216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626551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180507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56953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881428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72469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873110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A6536F-92F5-44B4-AD84-B2FB284E368D}" type="slidenum">
              <a:rPr lang="pl-PL" smtClean="0"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34957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42060" y="2679128"/>
            <a:ext cx="14076680" cy="18148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84120" y="4839716"/>
            <a:ext cx="11592560" cy="2160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Gilroy Light"/>
                <a:cs typeface="Gilroy Light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spc="90" dirty="0"/>
              <a:t>www.cerrad.com</a:t>
            </a:r>
            <a:r>
              <a:rPr spc="-204" dirty="0"/>
              <a:t> 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Gilroy Light"/>
                <a:cs typeface="Gilroy Light"/>
              </a:defRPr>
            </a:lvl1pPr>
          </a:lstStyle>
          <a:p>
            <a:pPr marL="38100">
              <a:lnSpc>
                <a:spcPct val="100000"/>
              </a:lnSpc>
              <a:spcBef>
                <a:spcPts val="65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2000" b="1" i="0">
                <a:solidFill>
                  <a:srgbClr val="ECECEC"/>
                </a:solidFill>
                <a:latin typeface="Gilroy ExtraBold"/>
                <a:cs typeface="Gilroy Extra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Gilroy Light"/>
                <a:cs typeface="Gilroy Light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spc="90" dirty="0"/>
              <a:t>www.cerrad.com</a:t>
            </a:r>
            <a:r>
              <a:rPr spc="-204" dirty="0"/>
              <a:t> 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Gilroy Light"/>
                <a:cs typeface="Gilroy Light"/>
              </a:defRPr>
            </a:lvl1pPr>
          </a:lstStyle>
          <a:p>
            <a:pPr marL="38100">
              <a:lnSpc>
                <a:spcPct val="100000"/>
              </a:lnSpc>
              <a:spcBef>
                <a:spcPts val="65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2000" b="1" i="0">
                <a:solidFill>
                  <a:srgbClr val="ECECEC"/>
                </a:solidFill>
                <a:latin typeface="Gilroy ExtraBold"/>
                <a:cs typeface="Gilroy Extra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28040" y="1987740"/>
            <a:ext cx="7203948" cy="57039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8528812" y="1987740"/>
            <a:ext cx="7203948" cy="57039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Gilroy Light"/>
                <a:cs typeface="Gilroy Light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spc="90" dirty="0"/>
              <a:t>www.cerrad.com</a:t>
            </a:r>
            <a:r>
              <a:rPr spc="-204" dirty="0"/>
              <a:t> 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0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Gilroy Light"/>
                <a:cs typeface="Gilroy Light"/>
              </a:defRPr>
            </a:lvl1pPr>
          </a:lstStyle>
          <a:p>
            <a:pPr marL="38100">
              <a:lnSpc>
                <a:spcPct val="100000"/>
              </a:lnSpc>
              <a:spcBef>
                <a:spcPts val="65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2000" b="1" i="0">
                <a:solidFill>
                  <a:srgbClr val="ECECEC"/>
                </a:solidFill>
                <a:latin typeface="Gilroy ExtraBold"/>
                <a:cs typeface="Gilroy Extra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Gilroy Light"/>
                <a:cs typeface="Gilroy Light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spc="90" dirty="0"/>
              <a:t>www.cerrad.com</a:t>
            </a:r>
            <a:r>
              <a:rPr spc="-204" dirty="0"/>
              <a:t> 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0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Gilroy Light"/>
                <a:cs typeface="Gilroy Light"/>
              </a:defRPr>
            </a:lvl1pPr>
          </a:lstStyle>
          <a:p>
            <a:pPr marL="38100">
              <a:lnSpc>
                <a:spcPct val="100000"/>
              </a:lnSpc>
              <a:spcBef>
                <a:spcPts val="65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Gilroy Light"/>
                <a:cs typeface="Gilroy Light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spc="90" dirty="0"/>
              <a:t>www.cerrad.com</a:t>
            </a:r>
            <a:r>
              <a:rPr spc="-204" dirty="0"/>
              <a:t> 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0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Gilroy Light"/>
                <a:cs typeface="Gilroy Light"/>
              </a:defRPr>
            </a:lvl1pPr>
          </a:lstStyle>
          <a:p>
            <a:pPr marL="38100">
              <a:lnSpc>
                <a:spcPct val="100000"/>
              </a:lnSpc>
              <a:spcBef>
                <a:spcPts val="65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iekt 6" hidden="1">
            <a:extLst>
              <a:ext uri="{FF2B5EF4-FFF2-40B4-BE49-F238E27FC236}">
                <a16:creationId xmlns:a16="http://schemas.microsoft.com/office/drawing/2014/main" id="{E89369D0-5250-405A-8CB5-FC2D124F3B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03195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7" name="Obiekt 6" hidden="1">
                        <a:extLst>
                          <a:ext uri="{FF2B5EF4-FFF2-40B4-BE49-F238E27FC236}">
                            <a16:creationId xmlns:a16="http://schemas.microsoft.com/office/drawing/2014/main" id="{E89369D0-5250-405A-8CB5-FC2D124F3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487558" y="86996"/>
            <a:ext cx="640079" cy="1854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0" b="1" i="0">
                <a:solidFill>
                  <a:srgbClr val="ECECEC"/>
                </a:solidFill>
                <a:latin typeface="Gilroy ExtraBold"/>
                <a:cs typeface="Gilroy Extra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28040" y="1987740"/>
            <a:ext cx="14904720" cy="57039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4466227" y="8098914"/>
            <a:ext cx="1402080" cy="208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Gilroy Light"/>
                <a:cs typeface="Gilroy Light"/>
              </a:defRPr>
            </a:lvl1pPr>
          </a:lstStyle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spc="90" dirty="0"/>
              <a:t>www.cerrad.com</a:t>
            </a:r>
            <a:r>
              <a:rPr spc="-204" dirty="0"/>
              <a:t> 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28040" y="8037385"/>
            <a:ext cx="3808984" cy="4321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6211683" y="8147404"/>
            <a:ext cx="134619" cy="1473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chemeClr val="tx1"/>
                </a:solidFill>
                <a:latin typeface="Gilroy Light"/>
                <a:cs typeface="Gilroy Light"/>
              </a:defRPr>
            </a:lvl1pPr>
          </a:lstStyle>
          <a:p>
            <a:pPr marL="38100">
              <a:lnSpc>
                <a:spcPct val="100000"/>
              </a:lnSpc>
              <a:spcBef>
                <a:spcPts val="65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3.jpg"/><Relationship Id="rId7" Type="http://schemas.openxmlformats.org/officeDocument/2006/relationships/image" Target="../media/image6.png"/><Relationship Id="rId12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Relationship Id="rId6" Type="http://schemas.microsoft.com/office/2007/relationships/hdphoto" Target="../media/hdphoto1.wdp"/><Relationship Id="rId11" Type="http://schemas.microsoft.com/office/2007/relationships/hdphoto" Target="../media/hdphoto3.wdp"/><Relationship Id="rId5" Type="http://schemas.openxmlformats.org/officeDocument/2006/relationships/image" Target="../media/image5.png"/><Relationship Id="rId10" Type="http://schemas.openxmlformats.org/officeDocument/2006/relationships/image" Target="../media/image8.png"/><Relationship Id="rId4" Type="http://schemas.openxmlformats.org/officeDocument/2006/relationships/image" Target="../media/image4.jpeg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26" Type="http://schemas.openxmlformats.org/officeDocument/2006/relationships/image" Target="../media/image10.png"/><Relationship Id="rId3" Type="http://schemas.openxmlformats.org/officeDocument/2006/relationships/tags" Target="../tags/tag106.xml"/><Relationship Id="rId21" Type="http://schemas.openxmlformats.org/officeDocument/2006/relationships/tags" Target="../tags/tag124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5" Type="http://schemas.openxmlformats.org/officeDocument/2006/relationships/image" Target="../media/image1.emf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tags" Target="../tags/tag123.xml"/><Relationship Id="rId29" Type="http://schemas.openxmlformats.org/officeDocument/2006/relationships/hyperlink" Target="https://www.gunb.gov.pl/" TargetMode="Externa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24" Type="http://schemas.openxmlformats.org/officeDocument/2006/relationships/oleObject" Target="../embeddings/oleObject9.bin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23" Type="http://schemas.openxmlformats.org/officeDocument/2006/relationships/notesSlide" Target="../notesSlides/notesSlide9.xml"/><Relationship Id="rId28" Type="http://schemas.openxmlformats.org/officeDocument/2006/relationships/image" Target="../media/image49.png"/><Relationship Id="rId10" Type="http://schemas.openxmlformats.org/officeDocument/2006/relationships/tags" Target="../tags/tag113.xml"/><Relationship Id="rId19" Type="http://schemas.openxmlformats.org/officeDocument/2006/relationships/tags" Target="../tags/tag122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Relationship Id="rId22" Type="http://schemas.openxmlformats.org/officeDocument/2006/relationships/slideLayout" Target="../slideLayouts/slideLayout5.xml"/><Relationship Id="rId27" Type="http://schemas.openxmlformats.org/officeDocument/2006/relationships/image" Target="../media/image11.png"/><Relationship Id="rId30" Type="http://schemas.openxmlformats.org/officeDocument/2006/relationships/image" Target="../media/image5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tags" Target="../tags/tag137.xml"/><Relationship Id="rId18" Type="http://schemas.openxmlformats.org/officeDocument/2006/relationships/tags" Target="../tags/tag142.xml"/><Relationship Id="rId26" Type="http://schemas.openxmlformats.org/officeDocument/2006/relationships/image" Target="../media/image1.emf"/><Relationship Id="rId3" Type="http://schemas.openxmlformats.org/officeDocument/2006/relationships/tags" Target="../tags/tag127.xml"/><Relationship Id="rId21" Type="http://schemas.openxmlformats.org/officeDocument/2006/relationships/tags" Target="../tags/tag145.xml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17" Type="http://schemas.openxmlformats.org/officeDocument/2006/relationships/tags" Target="../tags/tag141.xml"/><Relationship Id="rId25" Type="http://schemas.openxmlformats.org/officeDocument/2006/relationships/oleObject" Target="../embeddings/oleObject10.bin"/><Relationship Id="rId2" Type="http://schemas.openxmlformats.org/officeDocument/2006/relationships/tags" Target="../tags/tag126.xml"/><Relationship Id="rId16" Type="http://schemas.openxmlformats.org/officeDocument/2006/relationships/tags" Target="../tags/tag140.xml"/><Relationship Id="rId20" Type="http://schemas.openxmlformats.org/officeDocument/2006/relationships/tags" Target="../tags/tag144.xml"/><Relationship Id="rId29" Type="http://schemas.openxmlformats.org/officeDocument/2006/relationships/image" Target="../media/image51.jpg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24" Type="http://schemas.openxmlformats.org/officeDocument/2006/relationships/notesSlide" Target="../notesSlides/notesSlide10.xml"/><Relationship Id="rId5" Type="http://schemas.openxmlformats.org/officeDocument/2006/relationships/tags" Target="../tags/tag129.xml"/><Relationship Id="rId15" Type="http://schemas.openxmlformats.org/officeDocument/2006/relationships/tags" Target="../tags/tag139.xml"/><Relationship Id="rId23" Type="http://schemas.openxmlformats.org/officeDocument/2006/relationships/slideLayout" Target="../slideLayouts/slideLayout5.xml"/><Relationship Id="rId28" Type="http://schemas.openxmlformats.org/officeDocument/2006/relationships/image" Target="../media/image11.png"/><Relationship Id="rId10" Type="http://schemas.openxmlformats.org/officeDocument/2006/relationships/tags" Target="../tags/tag134.xml"/><Relationship Id="rId19" Type="http://schemas.openxmlformats.org/officeDocument/2006/relationships/tags" Target="../tags/tag143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Relationship Id="rId22" Type="http://schemas.openxmlformats.org/officeDocument/2006/relationships/tags" Target="../tags/tag146.xml"/><Relationship Id="rId27" Type="http://schemas.openxmlformats.org/officeDocument/2006/relationships/image" Target="../media/image10.png"/><Relationship Id="rId30" Type="http://schemas.openxmlformats.org/officeDocument/2006/relationships/image" Target="../media/image52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26" Type="http://schemas.openxmlformats.org/officeDocument/2006/relationships/image" Target="../media/image1.emf"/><Relationship Id="rId3" Type="http://schemas.openxmlformats.org/officeDocument/2006/relationships/tags" Target="../tags/tag149.xml"/><Relationship Id="rId21" Type="http://schemas.openxmlformats.org/officeDocument/2006/relationships/tags" Target="../tags/tag167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5" Type="http://schemas.openxmlformats.org/officeDocument/2006/relationships/oleObject" Target="../embeddings/oleObject11.bin"/><Relationship Id="rId2" Type="http://schemas.openxmlformats.org/officeDocument/2006/relationships/tags" Target="../tags/tag148.xml"/><Relationship Id="rId16" Type="http://schemas.openxmlformats.org/officeDocument/2006/relationships/tags" Target="../tags/tag162.xml"/><Relationship Id="rId20" Type="http://schemas.openxmlformats.org/officeDocument/2006/relationships/tags" Target="../tags/tag166.xml"/><Relationship Id="rId29" Type="http://schemas.openxmlformats.org/officeDocument/2006/relationships/image" Target="../media/image20.jpeg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24" Type="http://schemas.openxmlformats.org/officeDocument/2006/relationships/notesSlide" Target="../notesSlides/notesSlide11.xml"/><Relationship Id="rId32" Type="http://schemas.openxmlformats.org/officeDocument/2006/relationships/image" Target="../media/image54.jpeg"/><Relationship Id="rId5" Type="http://schemas.openxmlformats.org/officeDocument/2006/relationships/tags" Target="../tags/tag151.xml"/><Relationship Id="rId15" Type="http://schemas.openxmlformats.org/officeDocument/2006/relationships/tags" Target="../tags/tag161.xml"/><Relationship Id="rId23" Type="http://schemas.openxmlformats.org/officeDocument/2006/relationships/slideLayout" Target="../slideLayouts/slideLayout5.xml"/><Relationship Id="rId28" Type="http://schemas.openxmlformats.org/officeDocument/2006/relationships/image" Target="../media/image11.png"/><Relationship Id="rId10" Type="http://schemas.openxmlformats.org/officeDocument/2006/relationships/tags" Target="../tags/tag156.xml"/><Relationship Id="rId19" Type="http://schemas.openxmlformats.org/officeDocument/2006/relationships/tags" Target="../tags/tag165.xml"/><Relationship Id="rId31" Type="http://schemas.openxmlformats.org/officeDocument/2006/relationships/image" Target="../media/image53.png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tags" Target="../tags/tag160.xml"/><Relationship Id="rId22" Type="http://schemas.openxmlformats.org/officeDocument/2006/relationships/tags" Target="../tags/tag168.xml"/><Relationship Id="rId27" Type="http://schemas.openxmlformats.org/officeDocument/2006/relationships/image" Target="../media/image10.png"/><Relationship Id="rId30" Type="http://schemas.openxmlformats.org/officeDocument/2006/relationships/hyperlink" Target="https://www.gov.pl/web/edukacja-i-nauka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tags" Target="../tags/tag181.xml"/><Relationship Id="rId18" Type="http://schemas.openxmlformats.org/officeDocument/2006/relationships/tags" Target="../tags/tag186.xml"/><Relationship Id="rId26" Type="http://schemas.openxmlformats.org/officeDocument/2006/relationships/image" Target="../media/image1.emf"/><Relationship Id="rId3" Type="http://schemas.openxmlformats.org/officeDocument/2006/relationships/tags" Target="../tags/tag171.xml"/><Relationship Id="rId21" Type="http://schemas.openxmlformats.org/officeDocument/2006/relationships/tags" Target="../tags/tag189.xml"/><Relationship Id="rId7" Type="http://schemas.openxmlformats.org/officeDocument/2006/relationships/tags" Target="../tags/tag175.xml"/><Relationship Id="rId12" Type="http://schemas.openxmlformats.org/officeDocument/2006/relationships/tags" Target="../tags/tag180.xml"/><Relationship Id="rId17" Type="http://schemas.openxmlformats.org/officeDocument/2006/relationships/tags" Target="../tags/tag185.xml"/><Relationship Id="rId25" Type="http://schemas.openxmlformats.org/officeDocument/2006/relationships/oleObject" Target="../embeddings/oleObject12.bin"/><Relationship Id="rId2" Type="http://schemas.openxmlformats.org/officeDocument/2006/relationships/tags" Target="../tags/tag170.xml"/><Relationship Id="rId16" Type="http://schemas.openxmlformats.org/officeDocument/2006/relationships/tags" Target="../tags/tag184.xml"/><Relationship Id="rId20" Type="http://schemas.openxmlformats.org/officeDocument/2006/relationships/tags" Target="../tags/tag188.xml"/><Relationship Id="rId29" Type="http://schemas.openxmlformats.org/officeDocument/2006/relationships/image" Target="../media/image20.jpeg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11" Type="http://schemas.openxmlformats.org/officeDocument/2006/relationships/tags" Target="../tags/tag179.xml"/><Relationship Id="rId24" Type="http://schemas.openxmlformats.org/officeDocument/2006/relationships/notesSlide" Target="../notesSlides/notesSlide12.xml"/><Relationship Id="rId5" Type="http://schemas.openxmlformats.org/officeDocument/2006/relationships/tags" Target="../tags/tag173.xml"/><Relationship Id="rId15" Type="http://schemas.openxmlformats.org/officeDocument/2006/relationships/tags" Target="../tags/tag183.xml"/><Relationship Id="rId23" Type="http://schemas.openxmlformats.org/officeDocument/2006/relationships/slideLayout" Target="../slideLayouts/slideLayout5.xml"/><Relationship Id="rId28" Type="http://schemas.openxmlformats.org/officeDocument/2006/relationships/image" Target="../media/image11.png"/><Relationship Id="rId10" Type="http://schemas.openxmlformats.org/officeDocument/2006/relationships/tags" Target="../tags/tag178.xml"/><Relationship Id="rId19" Type="http://schemas.openxmlformats.org/officeDocument/2006/relationships/tags" Target="../tags/tag187.xml"/><Relationship Id="rId31" Type="http://schemas.openxmlformats.org/officeDocument/2006/relationships/image" Target="../media/image56.jpeg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tags" Target="../tags/tag182.xml"/><Relationship Id="rId22" Type="http://schemas.openxmlformats.org/officeDocument/2006/relationships/tags" Target="../tags/tag190.xml"/><Relationship Id="rId27" Type="http://schemas.openxmlformats.org/officeDocument/2006/relationships/image" Target="../media/image10.png"/><Relationship Id="rId30" Type="http://schemas.openxmlformats.org/officeDocument/2006/relationships/image" Target="../media/image5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9.jpeg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11" Type="http://schemas.microsoft.com/office/2007/relationships/hdphoto" Target="../media/hdphoto4.wdp"/><Relationship Id="rId5" Type="http://schemas.openxmlformats.org/officeDocument/2006/relationships/image" Target="../media/image1.emf"/><Relationship Id="rId15" Type="http://schemas.openxmlformats.org/officeDocument/2006/relationships/image" Target="../media/image18.png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3.png"/><Relationship Id="rId1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13.png"/><Relationship Id="rId18" Type="http://schemas.openxmlformats.org/officeDocument/2006/relationships/image" Target="../media/image28.png"/><Relationship Id="rId26" Type="http://schemas.openxmlformats.org/officeDocument/2006/relationships/image" Target="../media/image36.jp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31.png"/><Relationship Id="rId7" Type="http://schemas.openxmlformats.org/officeDocument/2006/relationships/image" Target="../media/image11.png"/><Relationship Id="rId12" Type="http://schemas.openxmlformats.org/officeDocument/2006/relationships/image" Target="../media/image23.png"/><Relationship Id="rId17" Type="http://schemas.openxmlformats.org/officeDocument/2006/relationships/image" Target="../media/image27.png"/><Relationship Id="rId25" Type="http://schemas.openxmlformats.org/officeDocument/2006/relationships/image" Target="../media/image35.jpe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6.jpeg"/><Relationship Id="rId20" Type="http://schemas.openxmlformats.org/officeDocument/2006/relationships/image" Target="../media/image30.png"/><Relationship Id="rId29" Type="http://schemas.openxmlformats.org/officeDocument/2006/relationships/image" Target="../media/image38.jpeg"/><Relationship Id="rId1" Type="http://schemas.openxmlformats.org/officeDocument/2006/relationships/tags" Target="../tags/tag4.xml"/><Relationship Id="rId6" Type="http://schemas.openxmlformats.org/officeDocument/2006/relationships/image" Target="../media/image10.png"/><Relationship Id="rId11" Type="http://schemas.microsoft.com/office/2007/relationships/hdphoto" Target="../media/hdphoto5.wdp"/><Relationship Id="rId24" Type="http://schemas.openxmlformats.org/officeDocument/2006/relationships/image" Target="../media/image34.png"/><Relationship Id="rId5" Type="http://schemas.openxmlformats.org/officeDocument/2006/relationships/image" Target="../media/image1.emf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28" Type="http://schemas.openxmlformats.org/officeDocument/2006/relationships/image" Target="../media/image37.png"/><Relationship Id="rId10" Type="http://schemas.openxmlformats.org/officeDocument/2006/relationships/image" Target="../media/image22.png"/><Relationship Id="rId19" Type="http://schemas.openxmlformats.org/officeDocument/2006/relationships/image" Target="../media/image2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1.png"/><Relationship Id="rId14" Type="http://schemas.openxmlformats.org/officeDocument/2006/relationships/image" Target="../media/image24.jpeg"/><Relationship Id="rId22" Type="http://schemas.openxmlformats.org/officeDocument/2006/relationships/image" Target="../media/image32.png"/><Relationship Id="rId27" Type="http://schemas.openxmlformats.org/officeDocument/2006/relationships/hyperlink" Target="https://www.cerameunie.eu/" TargetMode="External"/><Relationship Id="rId30" Type="http://schemas.openxmlformats.org/officeDocument/2006/relationships/image" Target="../media/image3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1.xml"/><Relationship Id="rId5" Type="http://schemas.openxmlformats.org/officeDocument/2006/relationships/image" Target="../media/image20.jpe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image" Target="../media/image41.png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34" Type="http://schemas.openxmlformats.org/officeDocument/2006/relationships/image" Target="../media/image40.png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image" Target="../media/image1.emf"/><Relationship Id="rId38" Type="http://schemas.openxmlformats.org/officeDocument/2006/relationships/chart" Target="../charts/chart2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oleObject" Target="../embeddings/oleObject4.bin"/><Relationship Id="rId37" Type="http://schemas.openxmlformats.org/officeDocument/2006/relationships/image" Target="../media/image20.jpeg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image" Target="../media/image11.png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slideLayout" Target="../slideLayouts/slideLayout5.xml"/><Relationship Id="rId35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tags" Target="../tags/tag59.xml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34" Type="http://schemas.openxmlformats.org/officeDocument/2006/relationships/chart" Target="../charts/chart3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tags" Target="../tags/tag58.xml"/><Relationship Id="rId33" Type="http://schemas.openxmlformats.org/officeDocument/2006/relationships/image" Target="../media/image20.jpeg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29" Type="http://schemas.openxmlformats.org/officeDocument/2006/relationships/oleObject" Target="../embeddings/oleObject5.bin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tags" Target="../tags/tag57.xml"/><Relationship Id="rId32" Type="http://schemas.openxmlformats.org/officeDocument/2006/relationships/image" Target="../media/image11.png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notesSlide" Target="../notesSlides/notesSlide5.xml"/><Relationship Id="rId36" Type="http://schemas.openxmlformats.org/officeDocument/2006/relationships/image" Target="../media/image40.png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31" Type="http://schemas.openxmlformats.org/officeDocument/2006/relationships/image" Target="../media/image10.png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slideLayout" Target="../slideLayouts/slideLayout5.xml"/><Relationship Id="rId30" Type="http://schemas.openxmlformats.org/officeDocument/2006/relationships/image" Target="../media/image1.emf"/><Relationship Id="rId35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image" Target="../media/image10.png"/><Relationship Id="rId3" Type="http://schemas.openxmlformats.org/officeDocument/2006/relationships/tags" Target="../tags/tag62.xml"/><Relationship Id="rId21" Type="http://schemas.openxmlformats.org/officeDocument/2006/relationships/tags" Target="../tags/tag80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image" Target="../media/image1.emf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29" Type="http://schemas.openxmlformats.org/officeDocument/2006/relationships/image" Target="../media/image43.jpeg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oleObject" Target="../embeddings/oleObject6.bin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notesSlide" Target="../notesSlides/notesSlide6.xml"/><Relationship Id="rId28" Type="http://schemas.openxmlformats.org/officeDocument/2006/relationships/image" Target="../media/image42.jpg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slideLayout" Target="../slideLayouts/slideLayout5.xml"/><Relationship Id="rId27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1.xml"/><Relationship Id="rId6" Type="http://schemas.openxmlformats.org/officeDocument/2006/relationships/image" Target="../media/image44.png"/><Relationship Id="rId11" Type="http://schemas.openxmlformats.org/officeDocument/2006/relationships/image" Target="../media/image46.png"/><Relationship Id="rId5" Type="http://schemas.openxmlformats.org/officeDocument/2006/relationships/image" Target="../media/image1.emf"/><Relationship Id="rId10" Type="http://schemas.openxmlformats.org/officeDocument/2006/relationships/image" Target="../media/image45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image" Target="../media/image1.emf"/><Relationship Id="rId3" Type="http://schemas.openxmlformats.org/officeDocument/2006/relationships/tags" Target="../tags/tag84.xml"/><Relationship Id="rId21" Type="http://schemas.openxmlformats.org/officeDocument/2006/relationships/tags" Target="../tags/tag102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oleObject" Target="../embeddings/oleObject8.bin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29" Type="http://schemas.openxmlformats.org/officeDocument/2006/relationships/image" Target="../media/image20.jpeg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notesSlide" Target="../notesSlides/notesSlide8.xml"/><Relationship Id="rId32" Type="http://schemas.openxmlformats.org/officeDocument/2006/relationships/image" Target="../media/image48.jpeg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23" Type="http://schemas.openxmlformats.org/officeDocument/2006/relationships/slideLayout" Target="../slideLayouts/slideLayout5.xml"/><Relationship Id="rId28" Type="http://schemas.openxmlformats.org/officeDocument/2006/relationships/image" Target="../media/image11.png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31" Type="http://schemas.openxmlformats.org/officeDocument/2006/relationships/image" Target="../media/image47.png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image" Target="../media/image10.png"/><Relationship Id="rId30" Type="http://schemas.openxmlformats.org/officeDocument/2006/relationships/hyperlink" Target="https://www.gov.pl/web/rozwoj-technologia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>
            <a:extLst>
              <a:ext uri="{FF2B5EF4-FFF2-40B4-BE49-F238E27FC236}">
                <a16:creationId xmlns:a16="http://schemas.microsoft.com/office/drawing/2014/main" id="{872A4E12-DBB1-97FD-E127-7C1BF0AD41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6" b="59824"/>
          <a:stretch/>
        </p:blipFill>
        <p:spPr>
          <a:xfrm>
            <a:off x="13873770" y="2413"/>
            <a:ext cx="2687030" cy="2429563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05255E68-CB98-4098-01A1-EC06625607E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401" r="56461"/>
          <a:stretch/>
        </p:blipFill>
        <p:spPr>
          <a:xfrm>
            <a:off x="14537958" y="5000732"/>
            <a:ext cx="2022842" cy="3641618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AD1D1F1E-A004-E2D2-6C69-2A7E8F648E3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31" b="25525"/>
          <a:stretch/>
        </p:blipFill>
        <p:spPr>
          <a:xfrm>
            <a:off x="8857945" y="5006139"/>
            <a:ext cx="5607356" cy="3633798"/>
          </a:xfrm>
          <a:prstGeom prst="rect">
            <a:avLst/>
          </a:prstGeom>
        </p:spPr>
      </p:pic>
      <p:grpSp>
        <p:nvGrpSpPr>
          <p:cNvPr id="10" name="Grupa 9">
            <a:extLst>
              <a:ext uri="{FF2B5EF4-FFF2-40B4-BE49-F238E27FC236}">
                <a16:creationId xmlns:a16="http://schemas.microsoft.com/office/drawing/2014/main" id="{6287355B-B161-E9CA-0025-0E703B14F6FA}"/>
              </a:ext>
            </a:extLst>
          </p:cNvPr>
          <p:cNvGrpSpPr/>
          <p:nvPr/>
        </p:nvGrpSpPr>
        <p:grpSpPr>
          <a:xfrm>
            <a:off x="280835" y="4084183"/>
            <a:ext cx="2842262" cy="838200"/>
            <a:chOff x="719992" y="562546"/>
            <a:chExt cx="2844415" cy="838835"/>
          </a:xfrm>
        </p:grpSpPr>
        <p:sp>
          <p:nvSpPr>
            <p:cNvPr id="11" name="object 3">
              <a:extLst>
                <a:ext uri="{FF2B5EF4-FFF2-40B4-BE49-F238E27FC236}">
                  <a16:creationId xmlns:a16="http://schemas.microsoft.com/office/drawing/2014/main" id="{F7376DBB-2201-B6E4-F3AD-67C4BBA2614D}"/>
                </a:ext>
              </a:extLst>
            </p:cNvPr>
            <p:cNvSpPr/>
            <p:nvPr/>
          </p:nvSpPr>
          <p:spPr>
            <a:xfrm>
              <a:off x="1713382" y="850963"/>
              <a:ext cx="1851025" cy="261620"/>
            </a:xfrm>
            <a:custGeom>
              <a:avLst/>
              <a:gdLst/>
              <a:ahLst/>
              <a:cxnLst/>
              <a:rect l="l" t="t" r="r" b="b"/>
              <a:pathLst>
                <a:path w="1851025" h="261619">
                  <a:moveTo>
                    <a:pt x="290385" y="23685"/>
                  </a:moveTo>
                  <a:lnTo>
                    <a:pt x="250748" y="9867"/>
                  </a:lnTo>
                  <a:lnTo>
                    <a:pt x="207124" y="1625"/>
                  </a:lnTo>
                  <a:lnTo>
                    <a:pt x="173583" y="0"/>
                  </a:lnTo>
                  <a:lnTo>
                    <a:pt x="154978" y="508"/>
                  </a:lnTo>
                  <a:lnTo>
                    <a:pt x="103695" y="8128"/>
                  </a:lnTo>
                  <a:lnTo>
                    <a:pt x="60807" y="24968"/>
                  </a:lnTo>
                  <a:lnTo>
                    <a:pt x="28219" y="51028"/>
                  </a:lnTo>
                  <a:lnTo>
                    <a:pt x="7213" y="86258"/>
                  </a:lnTo>
                  <a:lnTo>
                    <a:pt x="0" y="130721"/>
                  </a:lnTo>
                  <a:lnTo>
                    <a:pt x="800" y="146570"/>
                  </a:lnTo>
                  <a:lnTo>
                    <a:pt x="12827" y="187960"/>
                  </a:lnTo>
                  <a:lnTo>
                    <a:pt x="37833" y="220116"/>
                  </a:lnTo>
                  <a:lnTo>
                    <a:pt x="73990" y="243116"/>
                  </a:lnTo>
                  <a:lnTo>
                    <a:pt x="120027" y="256870"/>
                  </a:lnTo>
                  <a:lnTo>
                    <a:pt x="173583" y="261454"/>
                  </a:lnTo>
                  <a:lnTo>
                    <a:pt x="182384" y="261353"/>
                  </a:lnTo>
                  <a:lnTo>
                    <a:pt x="222377" y="257810"/>
                  </a:lnTo>
                  <a:lnTo>
                    <a:pt x="264172" y="247535"/>
                  </a:lnTo>
                  <a:lnTo>
                    <a:pt x="290385" y="237769"/>
                  </a:lnTo>
                  <a:lnTo>
                    <a:pt x="290385" y="208114"/>
                  </a:lnTo>
                  <a:lnTo>
                    <a:pt x="290385" y="177380"/>
                  </a:lnTo>
                  <a:lnTo>
                    <a:pt x="250278" y="196278"/>
                  </a:lnTo>
                  <a:lnTo>
                    <a:pt x="204876" y="206641"/>
                  </a:lnTo>
                  <a:lnTo>
                    <a:pt x="176288" y="208114"/>
                  </a:lnTo>
                  <a:lnTo>
                    <a:pt x="166027" y="207924"/>
                  </a:lnTo>
                  <a:lnTo>
                    <a:pt x="123786" y="201574"/>
                  </a:lnTo>
                  <a:lnTo>
                    <a:pt x="84975" y="179603"/>
                  </a:lnTo>
                  <a:lnTo>
                    <a:pt x="68529" y="143903"/>
                  </a:lnTo>
                  <a:lnTo>
                    <a:pt x="67805" y="137363"/>
                  </a:lnTo>
                  <a:lnTo>
                    <a:pt x="67805" y="130721"/>
                  </a:lnTo>
                  <a:lnTo>
                    <a:pt x="79781" y="88480"/>
                  </a:lnTo>
                  <a:lnTo>
                    <a:pt x="113868" y="63004"/>
                  </a:lnTo>
                  <a:lnTo>
                    <a:pt x="161137" y="53378"/>
                  </a:lnTo>
                  <a:lnTo>
                    <a:pt x="176288" y="52971"/>
                  </a:lnTo>
                  <a:lnTo>
                    <a:pt x="186334" y="53136"/>
                  </a:lnTo>
                  <a:lnTo>
                    <a:pt x="229133" y="58978"/>
                  </a:lnTo>
                  <a:lnTo>
                    <a:pt x="268693" y="72961"/>
                  </a:lnTo>
                  <a:lnTo>
                    <a:pt x="290385" y="84074"/>
                  </a:lnTo>
                  <a:lnTo>
                    <a:pt x="290385" y="52971"/>
                  </a:lnTo>
                  <a:lnTo>
                    <a:pt x="290385" y="23685"/>
                  </a:lnTo>
                  <a:close/>
                </a:path>
                <a:path w="1851025" h="261619">
                  <a:moveTo>
                    <a:pt x="577367" y="201790"/>
                  </a:moveTo>
                  <a:lnTo>
                    <a:pt x="392214" y="201790"/>
                  </a:lnTo>
                  <a:lnTo>
                    <a:pt x="392214" y="153327"/>
                  </a:lnTo>
                  <a:lnTo>
                    <a:pt x="565429" y="153327"/>
                  </a:lnTo>
                  <a:lnTo>
                    <a:pt x="565429" y="100355"/>
                  </a:lnTo>
                  <a:lnTo>
                    <a:pt x="392214" y="100355"/>
                  </a:lnTo>
                  <a:lnTo>
                    <a:pt x="392214" y="59309"/>
                  </a:lnTo>
                  <a:lnTo>
                    <a:pt x="574840" y="59309"/>
                  </a:lnTo>
                  <a:lnTo>
                    <a:pt x="574840" y="6324"/>
                  </a:lnTo>
                  <a:lnTo>
                    <a:pt x="323316" y="6324"/>
                  </a:lnTo>
                  <a:lnTo>
                    <a:pt x="323316" y="254762"/>
                  </a:lnTo>
                  <a:lnTo>
                    <a:pt x="577367" y="254762"/>
                  </a:lnTo>
                  <a:lnTo>
                    <a:pt x="577367" y="201790"/>
                  </a:lnTo>
                  <a:close/>
                </a:path>
                <a:path w="1851025" h="261619">
                  <a:moveTo>
                    <a:pt x="906487" y="254762"/>
                  </a:moveTo>
                  <a:lnTo>
                    <a:pt x="830668" y="163271"/>
                  </a:lnTo>
                  <a:lnTo>
                    <a:pt x="825119" y="156578"/>
                  </a:lnTo>
                  <a:lnTo>
                    <a:pt x="832472" y="154051"/>
                  </a:lnTo>
                  <a:lnTo>
                    <a:pt x="868540" y="127203"/>
                  </a:lnTo>
                  <a:lnTo>
                    <a:pt x="879906" y="85166"/>
                  </a:lnTo>
                  <a:lnTo>
                    <a:pt x="879576" y="76415"/>
                  </a:lnTo>
                  <a:lnTo>
                    <a:pt x="878573" y="68097"/>
                  </a:lnTo>
                  <a:lnTo>
                    <a:pt x="876909" y="60185"/>
                  </a:lnTo>
                  <a:lnTo>
                    <a:pt x="876287" y="58216"/>
                  </a:lnTo>
                  <a:lnTo>
                    <a:pt x="874572" y="52705"/>
                  </a:lnTo>
                  <a:lnTo>
                    <a:pt x="843788" y="18707"/>
                  </a:lnTo>
                  <a:lnTo>
                    <a:pt x="812101" y="8750"/>
                  </a:lnTo>
                  <a:lnTo>
                    <a:pt x="812101" y="79984"/>
                  </a:lnTo>
                  <a:lnTo>
                    <a:pt x="812101" y="89623"/>
                  </a:lnTo>
                  <a:lnTo>
                    <a:pt x="779246" y="111379"/>
                  </a:lnTo>
                  <a:lnTo>
                    <a:pt x="679564" y="111379"/>
                  </a:lnTo>
                  <a:lnTo>
                    <a:pt x="679564" y="58216"/>
                  </a:lnTo>
                  <a:lnTo>
                    <a:pt x="779246" y="58216"/>
                  </a:lnTo>
                  <a:lnTo>
                    <a:pt x="812101" y="79984"/>
                  </a:lnTo>
                  <a:lnTo>
                    <a:pt x="812101" y="8750"/>
                  </a:lnTo>
                  <a:lnTo>
                    <a:pt x="805700" y="7721"/>
                  </a:lnTo>
                  <a:lnTo>
                    <a:pt x="793686" y="6667"/>
                  </a:lnTo>
                  <a:lnTo>
                    <a:pt x="780630" y="6324"/>
                  </a:lnTo>
                  <a:lnTo>
                    <a:pt x="612470" y="6324"/>
                  </a:lnTo>
                  <a:lnTo>
                    <a:pt x="612470" y="254762"/>
                  </a:lnTo>
                  <a:lnTo>
                    <a:pt x="679564" y="254762"/>
                  </a:lnTo>
                  <a:lnTo>
                    <a:pt x="679564" y="163271"/>
                  </a:lnTo>
                  <a:lnTo>
                    <a:pt x="752792" y="163271"/>
                  </a:lnTo>
                  <a:lnTo>
                    <a:pt x="828014" y="254762"/>
                  </a:lnTo>
                  <a:lnTo>
                    <a:pt x="906487" y="254762"/>
                  </a:lnTo>
                  <a:close/>
                </a:path>
                <a:path w="1851025" h="261619">
                  <a:moveTo>
                    <a:pt x="1535239" y="254762"/>
                  </a:moveTo>
                  <a:lnTo>
                    <a:pt x="1510639" y="207759"/>
                  </a:lnTo>
                  <a:lnTo>
                    <a:pt x="1485277" y="159296"/>
                  </a:lnTo>
                  <a:lnTo>
                    <a:pt x="1437398" y="67805"/>
                  </a:lnTo>
                  <a:lnTo>
                    <a:pt x="1413370" y="21894"/>
                  </a:lnTo>
                  <a:lnTo>
                    <a:pt x="1413370" y="159296"/>
                  </a:lnTo>
                  <a:lnTo>
                    <a:pt x="1322603" y="159296"/>
                  </a:lnTo>
                  <a:lnTo>
                    <a:pt x="1368158" y="67805"/>
                  </a:lnTo>
                  <a:lnTo>
                    <a:pt x="1413370" y="159296"/>
                  </a:lnTo>
                  <a:lnTo>
                    <a:pt x="1413370" y="21894"/>
                  </a:lnTo>
                  <a:lnTo>
                    <a:pt x="1405229" y="6324"/>
                  </a:lnTo>
                  <a:lnTo>
                    <a:pt x="1330375" y="6324"/>
                  </a:lnTo>
                  <a:lnTo>
                    <a:pt x="1207566" y="241007"/>
                  </a:lnTo>
                  <a:lnTo>
                    <a:pt x="1143139" y="163271"/>
                  </a:lnTo>
                  <a:lnTo>
                    <a:pt x="1137589" y="156578"/>
                  </a:lnTo>
                  <a:lnTo>
                    <a:pt x="1144943" y="154051"/>
                  </a:lnTo>
                  <a:lnTo>
                    <a:pt x="1151940" y="150863"/>
                  </a:lnTo>
                  <a:lnTo>
                    <a:pt x="1184998" y="120484"/>
                  </a:lnTo>
                  <a:lnTo>
                    <a:pt x="1192377" y="85166"/>
                  </a:lnTo>
                  <a:lnTo>
                    <a:pt x="1192047" y="76415"/>
                  </a:lnTo>
                  <a:lnTo>
                    <a:pt x="1191044" y="68097"/>
                  </a:lnTo>
                  <a:lnTo>
                    <a:pt x="1189380" y="60185"/>
                  </a:lnTo>
                  <a:lnTo>
                    <a:pt x="1188758" y="58216"/>
                  </a:lnTo>
                  <a:lnTo>
                    <a:pt x="1187043" y="52705"/>
                  </a:lnTo>
                  <a:lnTo>
                    <a:pt x="1156258" y="18707"/>
                  </a:lnTo>
                  <a:lnTo>
                    <a:pt x="1124572" y="8750"/>
                  </a:lnTo>
                  <a:lnTo>
                    <a:pt x="1124572" y="79984"/>
                  </a:lnTo>
                  <a:lnTo>
                    <a:pt x="1124572" y="89623"/>
                  </a:lnTo>
                  <a:lnTo>
                    <a:pt x="1091730" y="111379"/>
                  </a:lnTo>
                  <a:lnTo>
                    <a:pt x="992035" y="111379"/>
                  </a:lnTo>
                  <a:lnTo>
                    <a:pt x="992035" y="58216"/>
                  </a:lnTo>
                  <a:lnTo>
                    <a:pt x="1091730" y="58216"/>
                  </a:lnTo>
                  <a:lnTo>
                    <a:pt x="1124572" y="79984"/>
                  </a:lnTo>
                  <a:lnTo>
                    <a:pt x="1124572" y="8750"/>
                  </a:lnTo>
                  <a:lnTo>
                    <a:pt x="1118184" y="7721"/>
                  </a:lnTo>
                  <a:lnTo>
                    <a:pt x="1106157" y="6667"/>
                  </a:lnTo>
                  <a:lnTo>
                    <a:pt x="1093114" y="6324"/>
                  </a:lnTo>
                  <a:lnTo>
                    <a:pt x="924953" y="6324"/>
                  </a:lnTo>
                  <a:lnTo>
                    <a:pt x="924953" y="254762"/>
                  </a:lnTo>
                  <a:lnTo>
                    <a:pt x="992035" y="254762"/>
                  </a:lnTo>
                  <a:lnTo>
                    <a:pt x="992035" y="163271"/>
                  </a:lnTo>
                  <a:lnTo>
                    <a:pt x="1065263" y="163271"/>
                  </a:lnTo>
                  <a:lnTo>
                    <a:pt x="1140485" y="254762"/>
                  </a:lnTo>
                  <a:lnTo>
                    <a:pt x="1200365" y="254762"/>
                  </a:lnTo>
                  <a:lnTo>
                    <a:pt x="1218958" y="254762"/>
                  </a:lnTo>
                  <a:lnTo>
                    <a:pt x="1275219" y="254762"/>
                  </a:lnTo>
                  <a:lnTo>
                    <a:pt x="1298549" y="207759"/>
                  </a:lnTo>
                  <a:lnTo>
                    <a:pt x="1437055" y="207759"/>
                  </a:lnTo>
                  <a:lnTo>
                    <a:pt x="1460385" y="254762"/>
                  </a:lnTo>
                  <a:lnTo>
                    <a:pt x="1535239" y="254762"/>
                  </a:lnTo>
                  <a:close/>
                </a:path>
                <a:path w="1851025" h="261619">
                  <a:moveTo>
                    <a:pt x="1850605" y="130365"/>
                  </a:moveTo>
                  <a:lnTo>
                    <a:pt x="1845360" y="88239"/>
                  </a:lnTo>
                  <a:lnTo>
                    <a:pt x="1833384" y="60388"/>
                  </a:lnTo>
                  <a:lnTo>
                    <a:pt x="1830628" y="55956"/>
                  </a:lnTo>
                  <a:lnTo>
                    <a:pt x="1800872" y="28117"/>
                  </a:lnTo>
                  <a:lnTo>
                    <a:pt x="1782991" y="19304"/>
                  </a:lnTo>
                  <a:lnTo>
                    <a:pt x="1782991" y="130365"/>
                  </a:lnTo>
                  <a:lnTo>
                    <a:pt x="1782699" y="139014"/>
                  </a:lnTo>
                  <a:lnTo>
                    <a:pt x="1768309" y="178765"/>
                  </a:lnTo>
                  <a:lnTo>
                    <a:pt x="1728203" y="198310"/>
                  </a:lnTo>
                  <a:lnTo>
                    <a:pt x="1696732" y="200698"/>
                  </a:lnTo>
                  <a:lnTo>
                    <a:pt x="1613382" y="200698"/>
                  </a:lnTo>
                  <a:lnTo>
                    <a:pt x="1613382" y="60388"/>
                  </a:lnTo>
                  <a:lnTo>
                    <a:pt x="1696732" y="60388"/>
                  </a:lnTo>
                  <a:lnTo>
                    <a:pt x="1736877" y="64643"/>
                  </a:lnTo>
                  <a:lnTo>
                    <a:pt x="1772361" y="87210"/>
                  </a:lnTo>
                  <a:lnTo>
                    <a:pt x="1782991" y="130365"/>
                  </a:lnTo>
                  <a:lnTo>
                    <a:pt x="1782991" y="19304"/>
                  </a:lnTo>
                  <a:lnTo>
                    <a:pt x="1742846" y="8940"/>
                  </a:lnTo>
                  <a:lnTo>
                    <a:pt x="1703603" y="6324"/>
                  </a:lnTo>
                  <a:lnTo>
                    <a:pt x="1546301" y="6324"/>
                  </a:lnTo>
                  <a:lnTo>
                    <a:pt x="1546301" y="254762"/>
                  </a:lnTo>
                  <a:lnTo>
                    <a:pt x="1703971" y="254762"/>
                  </a:lnTo>
                  <a:lnTo>
                    <a:pt x="1743202" y="252145"/>
                  </a:lnTo>
                  <a:lnTo>
                    <a:pt x="1786242" y="240601"/>
                  </a:lnTo>
                  <a:lnTo>
                    <a:pt x="1820189" y="217741"/>
                  </a:lnTo>
                  <a:lnTo>
                    <a:pt x="1842477" y="181737"/>
                  </a:lnTo>
                  <a:lnTo>
                    <a:pt x="1850275" y="141960"/>
                  </a:lnTo>
                  <a:lnTo>
                    <a:pt x="1850605" y="130365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2">
              <a:extLst>
                <a:ext uri="{FF2B5EF4-FFF2-40B4-BE49-F238E27FC236}">
                  <a16:creationId xmlns:a16="http://schemas.microsoft.com/office/drawing/2014/main" id="{746E8A73-DC50-A984-17DA-2DCFA07D0D00}"/>
                </a:ext>
              </a:extLst>
            </p:cNvPr>
            <p:cNvSpPr/>
            <p:nvPr/>
          </p:nvSpPr>
          <p:spPr>
            <a:xfrm>
              <a:off x="719992" y="562546"/>
              <a:ext cx="862330" cy="838835"/>
            </a:xfrm>
            <a:custGeom>
              <a:avLst/>
              <a:gdLst/>
              <a:ahLst/>
              <a:cxnLst/>
              <a:rect l="l" t="t" r="r" b="b"/>
              <a:pathLst>
                <a:path w="862330" h="838835">
                  <a:moveTo>
                    <a:pt x="768857" y="327024"/>
                  </a:moveTo>
                  <a:lnTo>
                    <a:pt x="442988" y="652881"/>
                  </a:lnTo>
                  <a:lnTo>
                    <a:pt x="442988" y="838644"/>
                  </a:lnTo>
                  <a:lnTo>
                    <a:pt x="861733" y="419900"/>
                  </a:lnTo>
                  <a:lnTo>
                    <a:pt x="768857" y="327024"/>
                  </a:lnTo>
                  <a:close/>
                </a:path>
                <a:path w="862330" h="838835">
                  <a:moveTo>
                    <a:pt x="660361" y="217360"/>
                  </a:moveTo>
                  <a:lnTo>
                    <a:pt x="442988" y="434733"/>
                  </a:lnTo>
                  <a:lnTo>
                    <a:pt x="442988" y="620496"/>
                  </a:lnTo>
                  <a:lnTo>
                    <a:pt x="753249" y="310248"/>
                  </a:lnTo>
                  <a:lnTo>
                    <a:pt x="660361" y="217360"/>
                  </a:lnTo>
                  <a:close/>
                </a:path>
                <a:path w="862330" h="838835">
                  <a:moveTo>
                    <a:pt x="551294" y="108292"/>
                  </a:moveTo>
                  <a:lnTo>
                    <a:pt x="442988" y="216598"/>
                  </a:lnTo>
                  <a:lnTo>
                    <a:pt x="442988" y="402361"/>
                  </a:lnTo>
                  <a:lnTo>
                    <a:pt x="644169" y="201167"/>
                  </a:lnTo>
                  <a:lnTo>
                    <a:pt x="551294" y="108292"/>
                  </a:lnTo>
                  <a:close/>
                </a:path>
                <a:path w="862330" h="838835">
                  <a:moveTo>
                    <a:pt x="442988" y="0"/>
                  </a:moveTo>
                  <a:lnTo>
                    <a:pt x="442988" y="184213"/>
                  </a:lnTo>
                  <a:lnTo>
                    <a:pt x="535101" y="92100"/>
                  </a:lnTo>
                  <a:lnTo>
                    <a:pt x="442988" y="0"/>
                  </a:lnTo>
                  <a:close/>
                </a:path>
                <a:path w="862330" h="838835">
                  <a:moveTo>
                    <a:pt x="92887" y="327024"/>
                  </a:moveTo>
                  <a:lnTo>
                    <a:pt x="0" y="419900"/>
                  </a:lnTo>
                  <a:lnTo>
                    <a:pt x="418744" y="838644"/>
                  </a:lnTo>
                  <a:lnTo>
                    <a:pt x="418744" y="652881"/>
                  </a:lnTo>
                  <a:lnTo>
                    <a:pt x="92887" y="327024"/>
                  </a:lnTo>
                  <a:close/>
                </a:path>
                <a:path w="862330" h="838835">
                  <a:moveTo>
                    <a:pt x="201371" y="217360"/>
                  </a:moveTo>
                  <a:lnTo>
                    <a:pt x="108496" y="310248"/>
                  </a:lnTo>
                  <a:lnTo>
                    <a:pt x="418744" y="620496"/>
                  </a:lnTo>
                  <a:lnTo>
                    <a:pt x="418757" y="434733"/>
                  </a:lnTo>
                  <a:lnTo>
                    <a:pt x="201371" y="217360"/>
                  </a:lnTo>
                  <a:close/>
                </a:path>
                <a:path w="862330" h="838835">
                  <a:moveTo>
                    <a:pt x="310451" y="108292"/>
                  </a:moveTo>
                  <a:lnTo>
                    <a:pt x="217576" y="201167"/>
                  </a:lnTo>
                  <a:lnTo>
                    <a:pt x="418744" y="402361"/>
                  </a:lnTo>
                  <a:lnTo>
                    <a:pt x="418757" y="216598"/>
                  </a:lnTo>
                  <a:lnTo>
                    <a:pt x="310451" y="108292"/>
                  </a:lnTo>
                  <a:close/>
                </a:path>
                <a:path w="862330" h="838835">
                  <a:moveTo>
                    <a:pt x="418744" y="0"/>
                  </a:moveTo>
                  <a:lnTo>
                    <a:pt x="326643" y="92100"/>
                  </a:lnTo>
                  <a:lnTo>
                    <a:pt x="418757" y="184213"/>
                  </a:lnTo>
                  <a:lnTo>
                    <a:pt x="418744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81">
            <a:extLst>
              <a:ext uri="{FF2B5EF4-FFF2-40B4-BE49-F238E27FC236}">
                <a16:creationId xmlns:a16="http://schemas.microsoft.com/office/drawing/2014/main" id="{652388B9-EC5B-2943-CA9D-17900BF92CCF}"/>
              </a:ext>
            </a:extLst>
          </p:cNvPr>
          <p:cNvSpPr txBox="1"/>
          <p:nvPr/>
        </p:nvSpPr>
        <p:spPr>
          <a:xfrm>
            <a:off x="777920" y="4372382"/>
            <a:ext cx="7093558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1618615" algn="l"/>
              </a:tabLst>
            </a:pPr>
            <a:r>
              <a:rPr lang="pl-PL" sz="2800" b="1" spc="380" dirty="0">
                <a:solidFill>
                  <a:sysClr val="windowText" lastClr="000000"/>
                </a:solidFill>
                <a:latin typeface="Gilroy Light"/>
                <a:cs typeface="Gilroy Light"/>
              </a:rPr>
              <a:t>POLSKI PRZEMYSŁ PRODUKCJI PŁYTEK CERAMICZNYCH</a:t>
            </a:r>
            <a:endParaRPr sz="2800" b="1" dirty="0">
              <a:solidFill>
                <a:sysClr val="windowText" lastClr="000000"/>
              </a:solidFill>
              <a:latin typeface="Gilroy Light"/>
              <a:cs typeface="Gilroy Light"/>
            </a:endParaRPr>
          </a:p>
        </p:txBody>
      </p:sp>
      <p:sp>
        <p:nvSpPr>
          <p:cNvPr id="17" name="Prostokąt: ścięte rogi po przekątnej 16">
            <a:extLst>
              <a:ext uri="{FF2B5EF4-FFF2-40B4-BE49-F238E27FC236}">
                <a16:creationId xmlns:a16="http://schemas.microsoft.com/office/drawing/2014/main" id="{72DAD7A0-2A92-5C63-BB09-557E16AAE961}"/>
              </a:ext>
            </a:extLst>
          </p:cNvPr>
          <p:cNvSpPr/>
          <p:nvPr/>
        </p:nvSpPr>
        <p:spPr>
          <a:xfrm>
            <a:off x="12040132" y="2500563"/>
            <a:ext cx="4520668" cy="2430639"/>
          </a:xfrm>
          <a:prstGeom prst="snip2DiagRect">
            <a:avLst>
              <a:gd name="adj1" fmla="val 0"/>
              <a:gd name="adj2" fmla="val 0"/>
            </a:avLst>
          </a:pr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  <a14:imgEffect>
                        <a14:brightnessContrast contrast="-39000"/>
                      </a14:imgEffect>
                    </a14:imgLayer>
                  </a14:imgProps>
                </a:ext>
              </a:extLst>
            </a:blip>
            <a:srcRect/>
            <a:stretch>
              <a:fillRect l="-876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pl-PL" dirty="0"/>
          </a:p>
        </p:txBody>
      </p:sp>
      <p:sp>
        <p:nvSpPr>
          <p:cNvPr id="18" name="Prostokąt: ścięte rogi po przekątnej 17">
            <a:extLst>
              <a:ext uri="{FF2B5EF4-FFF2-40B4-BE49-F238E27FC236}">
                <a16:creationId xmlns:a16="http://schemas.microsoft.com/office/drawing/2014/main" id="{670DBCC1-391D-3861-E266-BBD5AF74AA7F}"/>
              </a:ext>
            </a:extLst>
          </p:cNvPr>
          <p:cNvSpPr/>
          <p:nvPr/>
        </p:nvSpPr>
        <p:spPr>
          <a:xfrm>
            <a:off x="8857945" y="2503981"/>
            <a:ext cx="3101596" cy="2427221"/>
          </a:xfrm>
          <a:prstGeom prst="snip2DiagRect">
            <a:avLst>
              <a:gd name="adj1" fmla="val 0"/>
              <a:gd name="adj2" fmla="val 0"/>
            </a:avLst>
          </a:prstGeom>
          <a:blipFill dpi="0"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pl-PL"/>
          </a:p>
        </p:txBody>
      </p:sp>
      <p:pic>
        <p:nvPicPr>
          <p:cNvPr id="19" name="Obraz 18">
            <a:extLst>
              <a:ext uri="{FF2B5EF4-FFF2-40B4-BE49-F238E27FC236}">
                <a16:creationId xmlns:a16="http://schemas.microsoft.com/office/drawing/2014/main" id="{6165B1EA-961C-8174-1EB0-1829CDE8A5D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07" y="824486"/>
            <a:ext cx="4582943" cy="1009227"/>
          </a:xfrm>
          <a:prstGeom prst="rect">
            <a:avLst/>
          </a:prstGeom>
        </p:spPr>
      </p:pic>
      <p:pic>
        <p:nvPicPr>
          <p:cNvPr id="20" name="Obraz 19">
            <a:extLst>
              <a:ext uri="{FF2B5EF4-FFF2-40B4-BE49-F238E27FC236}">
                <a16:creationId xmlns:a16="http://schemas.microsoft.com/office/drawing/2014/main" id="{A5408943-413B-98F8-EF45-9DB54168BCC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3472" t="40002" b="7543"/>
          <a:stretch/>
        </p:blipFill>
        <p:spPr>
          <a:xfrm>
            <a:off x="8857945" y="-872"/>
            <a:ext cx="4935234" cy="2430639"/>
          </a:xfrm>
          <a:prstGeom prst="rect">
            <a:avLst/>
          </a:prstGeom>
        </p:spPr>
      </p:pic>
      <p:pic>
        <p:nvPicPr>
          <p:cNvPr id="21" name="Obraz 20">
            <a:extLst>
              <a:ext uri="{FF2B5EF4-FFF2-40B4-BE49-F238E27FC236}">
                <a16:creationId xmlns:a16="http://schemas.microsoft.com/office/drawing/2014/main" id="{AD5E84A1-2C3D-C99E-402B-B4C97CAD9D58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71"/>
          <a:stretch/>
        </p:blipFill>
        <p:spPr>
          <a:xfrm>
            <a:off x="8857945" y="0"/>
            <a:ext cx="7702855" cy="8642350"/>
          </a:xfrm>
          <a:prstGeom prst="rect">
            <a:avLst/>
          </a:prstGeom>
        </p:spPr>
      </p:pic>
      <p:sp>
        <p:nvSpPr>
          <p:cNvPr id="2" name="pole tekstowe 1">
            <a:extLst>
              <a:ext uri="{FF2B5EF4-FFF2-40B4-BE49-F238E27FC236}">
                <a16:creationId xmlns:a16="http://schemas.microsoft.com/office/drawing/2014/main" id="{C579868E-B056-0A79-9021-BAAF4B62E541}"/>
              </a:ext>
            </a:extLst>
          </p:cNvPr>
          <p:cNvSpPr txBox="1"/>
          <p:nvPr/>
        </p:nvSpPr>
        <p:spPr>
          <a:xfrm>
            <a:off x="777207" y="7383812"/>
            <a:ext cx="75895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b="1" dirty="0"/>
              <a:t>Dr inż. Ferdynand Gacki </a:t>
            </a:r>
            <a:br>
              <a:rPr lang="pl-PL" sz="2000" b="1" dirty="0"/>
            </a:br>
            <a:r>
              <a:rPr lang="pl-PL" sz="2000" b="1" dirty="0"/>
              <a:t>Prezes Zarządu Polskiej Unii Ceramicznej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C5FACCBB-6994-4084-B7B4-BDE597DA8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15" imgH="416" progId="TCLayout.ActiveDocument.1">
                  <p:embed/>
                </p:oleObj>
              </mc:Choice>
              <mc:Fallback>
                <p:oleObj name="think-cell Slide" r:id="rId24" imgW="415" imgH="41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C5FACCBB-6994-4084-B7B4-BDE597DA8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Obraz 21">
            <a:extLst>
              <a:ext uri="{FF2B5EF4-FFF2-40B4-BE49-F238E27FC236}">
                <a16:creationId xmlns:a16="http://schemas.microsoft.com/office/drawing/2014/main" id="{6606AAF4-A9F3-D123-3589-35F91C535333}"/>
              </a:ext>
            </a:extLst>
          </p:cNvPr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64" b="32234"/>
          <a:stretch/>
        </p:blipFill>
        <p:spPr>
          <a:xfrm>
            <a:off x="1633733" y="1063948"/>
            <a:ext cx="14483919" cy="90855"/>
          </a:xfrm>
          <a:prstGeom prst="rect">
            <a:avLst/>
          </a:prstGeom>
        </p:spPr>
      </p:pic>
      <p:pic>
        <p:nvPicPr>
          <p:cNvPr id="23" name="Obraz 22">
            <a:extLst>
              <a:ext uri="{FF2B5EF4-FFF2-40B4-BE49-F238E27FC236}">
                <a16:creationId xmlns:a16="http://schemas.microsoft.com/office/drawing/2014/main" id="{8BF4C95F-BE67-0DDF-E02E-575A0B87DD81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24" y="370285"/>
            <a:ext cx="2051348" cy="451735"/>
          </a:xfrm>
          <a:prstGeom prst="rect">
            <a:avLst/>
          </a:prstGeom>
        </p:spPr>
      </p:pic>
      <p:sp>
        <p:nvSpPr>
          <p:cNvPr id="28" name="object 79">
            <a:extLst>
              <a:ext uri="{FF2B5EF4-FFF2-40B4-BE49-F238E27FC236}">
                <a16:creationId xmlns:a16="http://schemas.microsoft.com/office/drawing/2014/main" id="{01AF504C-4CD2-799D-737E-E37E4D5264EC}"/>
              </a:ext>
            </a:extLst>
          </p:cNvPr>
          <p:cNvSpPr txBox="1"/>
          <p:nvPr/>
        </p:nvSpPr>
        <p:spPr>
          <a:xfrm>
            <a:off x="762124" y="1336277"/>
            <a:ext cx="9256392" cy="627451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>
              <a:spcBef>
                <a:spcPts val="93"/>
              </a:spcBef>
            </a:pPr>
            <a:r>
              <a:rPr lang="pl-PL" sz="4000" spc="74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6</a:t>
            </a:r>
            <a:r>
              <a:rPr lang="pl-PL" sz="4000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 </a:t>
            </a:r>
            <a:r>
              <a:rPr lang="pl-PL" sz="2000" spc="-14" dirty="0">
                <a:cs typeface="Gilroy Light"/>
              </a:rPr>
              <a:t>  </a:t>
            </a:r>
            <a:r>
              <a:rPr lang="pl-PL" sz="2000" b="1" spc="-14" dirty="0">
                <a:cs typeface="Gilroy Light"/>
              </a:rPr>
              <a:t>GINB</a:t>
            </a:r>
            <a:r>
              <a:rPr lang="pl-PL" sz="2000" spc="-14" dirty="0">
                <a:cs typeface="Gilroy Light"/>
              </a:rPr>
              <a:t> - </a:t>
            </a:r>
            <a:r>
              <a:rPr lang="pl-PL" sz="2000" b="1" spc="-14" dirty="0">
                <a:cs typeface="Gilroy Light"/>
              </a:rPr>
              <a:t>GUNB:  INTERWENCJA W SPRAWIE BRAKU OCHRONY RYNKU KRAJOWEGO</a:t>
            </a:r>
          </a:p>
        </p:txBody>
      </p:sp>
      <p:sp useBgFill="1">
        <p:nvSpPr>
          <p:cNvPr id="44" name="Symbol zastępczy tekstu 2">
            <a:extLst>
              <a:ext uri="{FF2B5EF4-FFF2-40B4-BE49-F238E27FC236}">
                <a16:creationId xmlns:a16="http://schemas.microsoft.com/office/drawing/2014/main" id="{37ACA3FA-43D3-F969-5B64-4AE5E36655A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874174" y="5586291"/>
            <a:ext cx="204918" cy="124399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 useBgFill="1">
        <p:nvSpPr>
          <p:cNvPr id="50" name="Symbol zastępczy tekstu 2">
            <a:extLst>
              <a:ext uri="{FF2B5EF4-FFF2-40B4-BE49-F238E27FC236}">
                <a16:creationId xmlns:a16="http://schemas.microsoft.com/office/drawing/2014/main" id="{32D859A7-7144-5FF0-5A69-6F742837248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3098854" y="3769784"/>
            <a:ext cx="246068" cy="138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58" name="pole tekstowe 16">
            <a:extLst>
              <a:ext uri="{FF2B5EF4-FFF2-40B4-BE49-F238E27FC236}">
                <a16:creationId xmlns:a16="http://schemas.microsoft.com/office/drawing/2014/main" id="{E3351ADE-8716-82A9-76F0-615B7F9CAA69}"/>
              </a:ext>
            </a:extLst>
          </p:cNvPr>
          <p:cNvSpPr txBox="1"/>
          <p:nvPr/>
        </p:nvSpPr>
        <p:spPr>
          <a:xfrm>
            <a:off x="3531983" y="242201"/>
            <a:ext cx="11180716" cy="85328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r" rtl="0"/>
            <a:r>
              <a:rPr lang="pl-PL" sz="2400" dirty="0">
                <a:latin typeface="Gilroy Light" panose="00000400000000000000" pitchFamily="50" charset="-18"/>
              </a:rPr>
              <a:t>BRANŻA PŁYTEK CERAMICZNYCH   |   KLUCZOWE PROBLEMY</a:t>
            </a:r>
          </a:p>
        </p:txBody>
      </p:sp>
      <p:sp>
        <p:nvSpPr>
          <p:cNvPr id="66" name="Symbol zastępczy tekstu 2">
            <a:extLst>
              <a:ext uri="{FF2B5EF4-FFF2-40B4-BE49-F238E27FC236}">
                <a16:creationId xmlns:a16="http://schemas.microsoft.com/office/drawing/2014/main" id="{2E9D4379-B809-FA2E-31EB-6F86090903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8329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7" name="Symbol zastępczy tekstu 2">
            <a:extLst>
              <a:ext uri="{FF2B5EF4-FFF2-40B4-BE49-F238E27FC236}">
                <a16:creationId xmlns:a16="http://schemas.microsoft.com/office/drawing/2014/main" id="{2138C451-BF7A-9821-EBE5-150717F7385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59197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8" name="Symbol zastępczy tekstu 2">
            <a:extLst>
              <a:ext uri="{FF2B5EF4-FFF2-40B4-BE49-F238E27FC236}">
                <a16:creationId xmlns:a16="http://schemas.microsoft.com/office/drawing/2014/main" id="{98D0C4AE-7ECB-E5AF-059E-ACEA6C02FBF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383930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9" name="Symbol zastępczy tekstu 2">
            <a:extLst>
              <a:ext uri="{FF2B5EF4-FFF2-40B4-BE49-F238E27FC236}">
                <a16:creationId xmlns:a16="http://schemas.microsoft.com/office/drawing/2014/main" id="{7D8C7D9A-21B3-9B65-910C-8D3C59F2634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31028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0" name="Symbol zastępczy tekstu 2">
            <a:extLst>
              <a:ext uri="{FF2B5EF4-FFF2-40B4-BE49-F238E27FC236}">
                <a16:creationId xmlns:a16="http://schemas.microsoft.com/office/drawing/2014/main" id="{17672053-4179-6CDF-716E-412F1F621A7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75453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1" name="Symbol zastępczy tekstu 2">
            <a:extLst>
              <a:ext uri="{FF2B5EF4-FFF2-40B4-BE49-F238E27FC236}">
                <a16:creationId xmlns:a16="http://schemas.microsoft.com/office/drawing/2014/main" id="{BC1BE9E6-C0FF-E1DB-0C6F-1584D1BB240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0841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2" name="Symbol zastępczy tekstu 2">
            <a:extLst>
              <a:ext uri="{FF2B5EF4-FFF2-40B4-BE49-F238E27FC236}">
                <a16:creationId xmlns:a16="http://schemas.microsoft.com/office/drawing/2014/main" id="{67A6F60D-29F7-6188-678F-8BB4A871D06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372663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3" name="Symbol zastępczy tekstu 2">
            <a:extLst>
              <a:ext uri="{FF2B5EF4-FFF2-40B4-BE49-F238E27FC236}">
                <a16:creationId xmlns:a16="http://schemas.microsoft.com/office/drawing/2014/main" id="{FAAA3231-8319-2AD3-C10C-6DC132523C3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3481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4" name="Symbol zastępczy tekstu 2">
            <a:extLst>
              <a:ext uri="{FF2B5EF4-FFF2-40B4-BE49-F238E27FC236}">
                <a16:creationId xmlns:a16="http://schemas.microsoft.com/office/drawing/2014/main" id="{62454E12-B5A2-B9C9-6BFC-0A66F9ACCA5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955961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5" name="Symbol zastępczy tekstu 2">
            <a:extLst>
              <a:ext uri="{FF2B5EF4-FFF2-40B4-BE49-F238E27FC236}">
                <a16:creationId xmlns:a16="http://schemas.microsoft.com/office/drawing/2014/main" id="{E9D88C3A-E7E1-E319-BA54-DB3A67A72AA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02522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6" name="Symbol zastępczy tekstu 2">
            <a:extLst>
              <a:ext uri="{FF2B5EF4-FFF2-40B4-BE49-F238E27FC236}">
                <a16:creationId xmlns:a16="http://schemas.microsoft.com/office/drawing/2014/main" id="{7BC11D14-C21D-440F-D43F-EB1D22A6D16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473688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7" name="Symbol zastępczy tekstu 2">
            <a:extLst>
              <a:ext uri="{FF2B5EF4-FFF2-40B4-BE49-F238E27FC236}">
                <a16:creationId xmlns:a16="http://schemas.microsoft.com/office/drawing/2014/main" id="{31024E1D-F097-96AC-1D40-0A9842C24DE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1598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8" name="Symbol zastępczy tekstu 2">
            <a:extLst>
              <a:ext uri="{FF2B5EF4-FFF2-40B4-BE49-F238E27FC236}">
                <a16:creationId xmlns:a16="http://schemas.microsoft.com/office/drawing/2014/main" id="{F8040A55-FC5B-569D-80B1-974B5411428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538243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9" name="Symbol zastępczy tekstu 2">
            <a:extLst>
              <a:ext uri="{FF2B5EF4-FFF2-40B4-BE49-F238E27FC236}">
                <a16:creationId xmlns:a16="http://schemas.microsoft.com/office/drawing/2014/main" id="{46ECE8B2-0222-2700-1AD9-800A65E130A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526382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0" name="Symbol zastępczy tekstu 2">
            <a:extLst>
              <a:ext uri="{FF2B5EF4-FFF2-40B4-BE49-F238E27FC236}">
                <a16:creationId xmlns:a16="http://schemas.microsoft.com/office/drawing/2014/main" id="{B4A5448C-D6F6-2B2C-0743-73064C7F8D6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255216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1" name="Symbol zastępczy tekstu 2">
            <a:extLst>
              <a:ext uri="{FF2B5EF4-FFF2-40B4-BE49-F238E27FC236}">
                <a16:creationId xmlns:a16="http://schemas.microsoft.com/office/drawing/2014/main" id="{93F9327B-6BF1-FFAE-4A5B-40EA0E18F10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974367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3" name="Symbol zastępczy tekstu 2">
            <a:extLst>
              <a:ext uri="{FF2B5EF4-FFF2-40B4-BE49-F238E27FC236}">
                <a16:creationId xmlns:a16="http://schemas.microsoft.com/office/drawing/2014/main" id="{C05F78E8-F004-A3FB-2D44-9044FED5334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105081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4" name="Symbol zastępczy tekstu 2">
            <a:extLst>
              <a:ext uri="{FF2B5EF4-FFF2-40B4-BE49-F238E27FC236}">
                <a16:creationId xmlns:a16="http://schemas.microsoft.com/office/drawing/2014/main" id="{C8E3E179-8875-DA8C-F78B-FE0732B8F99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83191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7618FF2B-C44E-38FD-14A6-5BEF342B1FE2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535347" y="2711110"/>
            <a:ext cx="5146377" cy="3218445"/>
          </a:xfrm>
          <a:prstGeom prst="rect">
            <a:avLst/>
          </a:prstGeom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id="{A040866A-87C5-3EAE-4AEA-B80970BCF2FB}"/>
              </a:ext>
            </a:extLst>
          </p:cNvPr>
          <p:cNvSpPr txBox="1"/>
          <p:nvPr/>
        </p:nvSpPr>
        <p:spPr>
          <a:xfrm>
            <a:off x="879076" y="2138915"/>
            <a:ext cx="9579335" cy="65892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lnSpc>
                <a:spcPts val="16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l-PL" sz="18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UNB</a:t>
            </a:r>
            <a:r>
              <a:rPr lang="pl-PL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rzeprowadza k</a:t>
            </a:r>
            <a:r>
              <a:rPr lang="pl-PL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ntrole płytek ceramicznych </a:t>
            </a:r>
            <a:r>
              <a:rPr lang="pl-PL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rajowych</a:t>
            </a:r>
            <a:r>
              <a:rPr lang="pl-PL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roducentów przez Wojewódzkich Inspektorów Nadzoru Budowlanego i kieruje je do badań na zgodność z deklarowanymi przez producentów właściwościami użytkowymi</a:t>
            </a:r>
            <a:r>
              <a:rPr lang="pl-PL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łytek na zgodność z deklarowanymi parametrami, zgodnymi także z </a:t>
            </a:r>
            <a:r>
              <a:rPr lang="pl-PL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zharmonizowaną normą PN-EN 14411.</a:t>
            </a:r>
          </a:p>
          <a:p>
            <a:pPr algn="just">
              <a:lnSpc>
                <a:spcPts val="1600"/>
              </a:lnSpc>
              <a:spcAft>
                <a:spcPts val="800"/>
              </a:spcAft>
            </a:pPr>
            <a:endParaRPr lang="pl-PL" sz="1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ts val="16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pl-PL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o IX 2022 roku - </a:t>
            </a:r>
            <a:r>
              <a:rPr lang="pl-PL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rak </a:t>
            </a:r>
            <a:r>
              <a:rPr lang="pl-PL" sz="1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jakichkolwiek kontroli i badań płytek ceramicznych z importu na terenie Polski</a:t>
            </a:r>
            <a:r>
              <a:rPr lang="pl-PL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 Unii Europejskiej. Ma to </a:t>
            </a:r>
            <a:r>
              <a:rPr lang="pl-PL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ś</a:t>
            </a:r>
            <a:r>
              <a:rPr lang="pl-PL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isły związek z coraz większym importem tych wyrobów na teren naszego kraju w szczególności z Indii</a:t>
            </a:r>
            <a:r>
              <a:rPr lang="pl-PL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czy</a:t>
            </a:r>
            <a:r>
              <a:rPr lang="pl-PL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Turcji.</a:t>
            </a:r>
          </a:p>
          <a:p>
            <a:r>
              <a:rPr lang="pl-PL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 jaki sposób bronią się kraje zachodnie przed importem w UE?</a:t>
            </a:r>
          </a:p>
          <a:p>
            <a:endParaRPr lang="pl-PL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osują obligatoryjne badania na płytki z importu (również importowane z pozostałych krajów Unii Europejskiej – w tym z Polski) w celu ich certyfikacji. Są to badania poza zharmonizowaną normą EN 14411 – </a:t>
            </a:r>
            <a:r>
              <a:rPr lang="pl-PL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zykład Francji 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pl-PL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EC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pl-PL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gdzie certyfikacji dokonuje CSTB</a:t>
            </a:r>
            <a:r>
              <a:rPr lang="pl-PL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ylko dla jednej kolekcji produktowej o jednej grubości koszt takiej certyfikacji wynosi</a:t>
            </a:r>
            <a:br>
              <a:rPr lang="pl-PL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pl-PL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k. 30 000 PL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cedura uzyskania takiej certyfikacji jest wyjątkowo czasochłonna i nakłada na producenta dodatkowe badania.</a:t>
            </a:r>
            <a:r>
              <a:rPr lang="pl-PL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indent="0" algn="just">
              <a:lnSpc>
                <a:spcPts val="1600"/>
              </a:lnSpc>
              <a:spcAft>
                <a:spcPts val="800"/>
              </a:spcAft>
              <a:buNone/>
            </a:pPr>
            <a:endParaRPr lang="pl-PL" sz="1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ts val="1600"/>
              </a:lnSpc>
              <a:spcAft>
                <a:spcPts val="800"/>
              </a:spcAft>
              <a:buNone/>
            </a:pPr>
            <a:r>
              <a:rPr lang="pl-PL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ważamy, że:</a:t>
            </a:r>
          </a:p>
          <a:p>
            <a:pPr marL="285750" indent="-285750" algn="just">
              <a:lnSpc>
                <a:spcPts val="16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onkurencyjność płytek jest jak najbardziej wskazana, pod warunkiem, że dotyczy nie tylko cen i warunków finansowych transakcji kupna-sprzedaży, ale także dotyczy  zachowania odpowiednich właściwości użytkowych.</a:t>
            </a:r>
          </a:p>
          <a:p>
            <a:pPr marL="285750" indent="-285750" algn="just">
              <a:lnSpc>
                <a:spcPts val="16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szyscy producenci, importerzy i dystrybutorzy powinni być poddani </a:t>
            </a:r>
            <a:r>
              <a:rPr lang="pl-PL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ontroli</a:t>
            </a:r>
            <a:r>
              <a:rPr lang="pl-PL" sz="1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na tych samych warunkach w celu zapewnienia równego traktowania. </a:t>
            </a:r>
          </a:p>
          <a:p>
            <a:pPr algn="just">
              <a:lnSpc>
                <a:spcPts val="1600"/>
              </a:lnSpc>
              <a:spcAft>
                <a:spcPts val="800"/>
              </a:spcAft>
            </a:pPr>
            <a:endParaRPr lang="pl-PL" sz="1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574C399B-A1F2-5AEB-002E-62ECB69CE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515525"/>
            <a:ext cx="16560800" cy="1031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42811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-18"/>
              </a:rPr>
              <a:t>  </a:t>
            </a:r>
            <a:r>
              <a:rPr kumimoji="0" lang="pl-PL" altLang="pl-PL" sz="4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-18"/>
              </a:rPr>
              <a:t>      </a:t>
            </a:r>
            <a:endParaRPr kumimoji="0" lang="pl-PL" altLang="pl-PL" sz="3000" b="1" i="0" u="none" strike="noStrike" cap="none" normalizeH="0" baseline="0" dirty="0">
              <a:ln>
                <a:noFill/>
              </a:ln>
              <a:solidFill>
                <a:srgbClr val="1E2D68"/>
              </a:solidFill>
              <a:effectLst/>
              <a:latin typeface="Titillium Web" panose="00000500000000000000" pitchFamily="2" charset="-18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altLang="pl-P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074" name="Picture 2" descr="Powrót do strony głównej serwisu głownego urzędu nadzoru budowlanego">
            <a:hlinkClick r:id="rId29"/>
            <a:extLst>
              <a:ext uri="{FF2B5EF4-FFF2-40B4-BE49-F238E27FC236}">
                <a16:creationId xmlns:a16="http://schemas.microsoft.com/office/drawing/2014/main" id="{708D5336-EC8A-98D0-7763-5B1F7F37CC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2930" y="1266816"/>
            <a:ext cx="762000" cy="7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pole tekstowe 9">
            <a:extLst>
              <a:ext uri="{FF2B5EF4-FFF2-40B4-BE49-F238E27FC236}">
                <a16:creationId xmlns:a16="http://schemas.microsoft.com/office/drawing/2014/main" id="{CE1DCAD8-B672-63D4-3A8B-F0D6D6D35AF9}"/>
              </a:ext>
            </a:extLst>
          </p:cNvPr>
          <p:cNvSpPr txBox="1"/>
          <p:nvPr/>
        </p:nvSpPr>
        <p:spPr>
          <a:xfrm>
            <a:off x="10834930" y="1474849"/>
            <a:ext cx="82820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800" b="1" i="0" u="none" strike="noStrike" cap="none" normalizeH="0" baseline="0" dirty="0">
                <a:ln>
                  <a:noFill/>
                </a:ln>
                <a:solidFill>
                  <a:srgbClr val="1E2D68"/>
                </a:solidFill>
                <a:effectLst/>
                <a:latin typeface="Titillium Web" panose="00000500000000000000" pitchFamily="2" charset="-18"/>
              </a:rPr>
              <a:t>GŁÓWNY URZĄD NADZORU BUDOWLANEGO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AC66B9D1-F278-5F64-CFCC-FB37BDC85518}"/>
              </a:ext>
            </a:extLst>
          </p:cNvPr>
          <p:cNvSpPr txBox="1"/>
          <p:nvPr/>
        </p:nvSpPr>
        <p:spPr>
          <a:xfrm>
            <a:off x="12098321" y="5937682"/>
            <a:ext cx="2689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/>
              <a:t>Strona internetowa GUNB</a:t>
            </a:r>
          </a:p>
        </p:txBody>
      </p:sp>
    </p:spTree>
    <p:extLst>
      <p:ext uri="{BB962C8B-B14F-4D97-AF65-F5344CB8AC3E}">
        <p14:creationId xmlns:p14="http://schemas.microsoft.com/office/powerpoint/2010/main" val="32962993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C5FACCBB-6994-4084-B7B4-BDE597DA8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5" imgH="416" progId="TCLayout.ActiveDocument.1">
                  <p:embed/>
                </p:oleObj>
              </mc:Choice>
              <mc:Fallback>
                <p:oleObj name="think-cell Slide" r:id="rId25" imgW="415" imgH="41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C5FACCBB-6994-4084-B7B4-BDE597DA8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Obraz 21">
            <a:extLst>
              <a:ext uri="{FF2B5EF4-FFF2-40B4-BE49-F238E27FC236}">
                <a16:creationId xmlns:a16="http://schemas.microsoft.com/office/drawing/2014/main" id="{6606AAF4-A9F3-D123-3589-35F91C535333}"/>
              </a:ext>
            </a:extLst>
          </p:cNvPr>
          <p:cNvPicPr>
            <a:picLocks noChangeAspect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64" b="32234"/>
          <a:stretch/>
        </p:blipFill>
        <p:spPr>
          <a:xfrm>
            <a:off x="1633733" y="1063948"/>
            <a:ext cx="14483919" cy="90855"/>
          </a:xfrm>
          <a:prstGeom prst="rect">
            <a:avLst/>
          </a:prstGeom>
        </p:spPr>
      </p:pic>
      <p:pic>
        <p:nvPicPr>
          <p:cNvPr id="23" name="Obraz 22">
            <a:extLst>
              <a:ext uri="{FF2B5EF4-FFF2-40B4-BE49-F238E27FC236}">
                <a16:creationId xmlns:a16="http://schemas.microsoft.com/office/drawing/2014/main" id="{8BF4C95F-BE67-0DDF-E02E-575A0B87DD81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24" y="370285"/>
            <a:ext cx="2051348" cy="451735"/>
          </a:xfrm>
          <a:prstGeom prst="rect">
            <a:avLst/>
          </a:prstGeom>
        </p:spPr>
      </p:pic>
      <p:sp>
        <p:nvSpPr>
          <p:cNvPr id="28" name="object 79">
            <a:extLst>
              <a:ext uri="{FF2B5EF4-FFF2-40B4-BE49-F238E27FC236}">
                <a16:creationId xmlns:a16="http://schemas.microsoft.com/office/drawing/2014/main" id="{01AF504C-4CD2-799D-737E-E37E4D5264EC}"/>
              </a:ext>
            </a:extLst>
          </p:cNvPr>
          <p:cNvSpPr txBox="1"/>
          <p:nvPr/>
        </p:nvSpPr>
        <p:spPr>
          <a:xfrm>
            <a:off x="762124" y="1336277"/>
            <a:ext cx="9256392" cy="627451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>
              <a:spcBef>
                <a:spcPts val="93"/>
              </a:spcBef>
            </a:pPr>
            <a:r>
              <a:rPr lang="pl-PL" sz="4000" spc="74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7</a:t>
            </a:r>
            <a:r>
              <a:rPr lang="pl-PL" sz="4000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 </a:t>
            </a:r>
            <a:r>
              <a:rPr lang="pl-PL" sz="2000" spc="-14" dirty="0">
                <a:cs typeface="Gilroy Light"/>
              </a:rPr>
              <a:t>  </a:t>
            </a:r>
            <a:r>
              <a:rPr lang="pl-PL" sz="2000" b="1" spc="-14" dirty="0">
                <a:cs typeface="Gilroy Light"/>
              </a:rPr>
              <a:t>WIZYTA W PARLAMENCIE EUROPEJSKIM W BRUKSELI – IX 2022 rok</a:t>
            </a:r>
          </a:p>
        </p:txBody>
      </p:sp>
      <p:sp useBgFill="1">
        <p:nvSpPr>
          <p:cNvPr id="44" name="Symbol zastępczy tekstu 2">
            <a:extLst>
              <a:ext uri="{FF2B5EF4-FFF2-40B4-BE49-F238E27FC236}">
                <a16:creationId xmlns:a16="http://schemas.microsoft.com/office/drawing/2014/main" id="{37ACA3FA-43D3-F969-5B64-4AE5E36655A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874174" y="5586291"/>
            <a:ext cx="204918" cy="124399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 useBgFill="1">
        <p:nvSpPr>
          <p:cNvPr id="50" name="Symbol zastępczy tekstu 2">
            <a:extLst>
              <a:ext uri="{FF2B5EF4-FFF2-40B4-BE49-F238E27FC236}">
                <a16:creationId xmlns:a16="http://schemas.microsoft.com/office/drawing/2014/main" id="{32D859A7-7144-5FF0-5A69-6F742837248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3098854" y="3769784"/>
            <a:ext cx="246068" cy="138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58" name="pole tekstowe 16">
            <a:extLst>
              <a:ext uri="{FF2B5EF4-FFF2-40B4-BE49-F238E27FC236}">
                <a16:creationId xmlns:a16="http://schemas.microsoft.com/office/drawing/2014/main" id="{E3351ADE-8716-82A9-76F0-615B7F9CAA69}"/>
              </a:ext>
            </a:extLst>
          </p:cNvPr>
          <p:cNvSpPr txBox="1"/>
          <p:nvPr/>
        </p:nvSpPr>
        <p:spPr>
          <a:xfrm>
            <a:off x="3531983" y="242201"/>
            <a:ext cx="11180716" cy="85328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r" rtl="0"/>
            <a:r>
              <a:rPr lang="pl-PL" sz="2400" dirty="0">
                <a:latin typeface="Gilroy Light" panose="00000400000000000000" pitchFamily="50" charset="-18"/>
              </a:rPr>
              <a:t>BRANŻA PŁYTEK CERAMICZNYCH   | DZIAŁANIA</a:t>
            </a:r>
          </a:p>
        </p:txBody>
      </p:sp>
      <p:sp>
        <p:nvSpPr>
          <p:cNvPr id="66" name="Symbol zastępczy tekstu 2">
            <a:extLst>
              <a:ext uri="{FF2B5EF4-FFF2-40B4-BE49-F238E27FC236}">
                <a16:creationId xmlns:a16="http://schemas.microsoft.com/office/drawing/2014/main" id="{2E9D4379-B809-FA2E-31EB-6F86090903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8329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7" name="Symbol zastępczy tekstu 2">
            <a:extLst>
              <a:ext uri="{FF2B5EF4-FFF2-40B4-BE49-F238E27FC236}">
                <a16:creationId xmlns:a16="http://schemas.microsoft.com/office/drawing/2014/main" id="{2138C451-BF7A-9821-EBE5-150717F7385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59197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8" name="Symbol zastępczy tekstu 2">
            <a:extLst>
              <a:ext uri="{FF2B5EF4-FFF2-40B4-BE49-F238E27FC236}">
                <a16:creationId xmlns:a16="http://schemas.microsoft.com/office/drawing/2014/main" id="{98D0C4AE-7ECB-E5AF-059E-ACEA6C02FBF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606720" y="7080799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9" name="Symbol zastępczy tekstu 2">
            <a:extLst>
              <a:ext uri="{FF2B5EF4-FFF2-40B4-BE49-F238E27FC236}">
                <a16:creationId xmlns:a16="http://schemas.microsoft.com/office/drawing/2014/main" id="{7D8C7D9A-21B3-9B65-910C-8D3C59F2634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31028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0" name="Symbol zastępczy tekstu 2">
            <a:extLst>
              <a:ext uri="{FF2B5EF4-FFF2-40B4-BE49-F238E27FC236}">
                <a16:creationId xmlns:a16="http://schemas.microsoft.com/office/drawing/2014/main" id="{17672053-4179-6CDF-716E-412F1F621A7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75453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1" name="Symbol zastępczy tekstu 2">
            <a:extLst>
              <a:ext uri="{FF2B5EF4-FFF2-40B4-BE49-F238E27FC236}">
                <a16:creationId xmlns:a16="http://schemas.microsoft.com/office/drawing/2014/main" id="{BC1BE9E6-C0FF-E1DB-0C6F-1584D1BB240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0841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2" name="Symbol zastępczy tekstu 2">
            <a:extLst>
              <a:ext uri="{FF2B5EF4-FFF2-40B4-BE49-F238E27FC236}">
                <a16:creationId xmlns:a16="http://schemas.microsoft.com/office/drawing/2014/main" id="{67A6F60D-29F7-6188-678F-8BB4A871D06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372663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3" name="Symbol zastępczy tekstu 2">
            <a:extLst>
              <a:ext uri="{FF2B5EF4-FFF2-40B4-BE49-F238E27FC236}">
                <a16:creationId xmlns:a16="http://schemas.microsoft.com/office/drawing/2014/main" id="{FAAA3231-8319-2AD3-C10C-6DC132523C3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3481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4" name="Symbol zastępczy tekstu 2">
            <a:extLst>
              <a:ext uri="{FF2B5EF4-FFF2-40B4-BE49-F238E27FC236}">
                <a16:creationId xmlns:a16="http://schemas.microsoft.com/office/drawing/2014/main" id="{62454E12-B5A2-B9C9-6BFC-0A66F9ACCA5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955961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5" name="Symbol zastępczy tekstu 2">
            <a:extLst>
              <a:ext uri="{FF2B5EF4-FFF2-40B4-BE49-F238E27FC236}">
                <a16:creationId xmlns:a16="http://schemas.microsoft.com/office/drawing/2014/main" id="{E9D88C3A-E7E1-E319-BA54-DB3A67A72AA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02522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6" name="Symbol zastępczy tekstu 2">
            <a:extLst>
              <a:ext uri="{FF2B5EF4-FFF2-40B4-BE49-F238E27FC236}">
                <a16:creationId xmlns:a16="http://schemas.microsoft.com/office/drawing/2014/main" id="{7BC11D14-C21D-440F-D43F-EB1D22A6D16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473688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7" name="Symbol zastępczy tekstu 2">
            <a:extLst>
              <a:ext uri="{FF2B5EF4-FFF2-40B4-BE49-F238E27FC236}">
                <a16:creationId xmlns:a16="http://schemas.microsoft.com/office/drawing/2014/main" id="{31024E1D-F097-96AC-1D40-0A9842C24DE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1598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8" name="Symbol zastępczy tekstu 2">
            <a:extLst>
              <a:ext uri="{FF2B5EF4-FFF2-40B4-BE49-F238E27FC236}">
                <a16:creationId xmlns:a16="http://schemas.microsoft.com/office/drawing/2014/main" id="{F8040A55-FC5B-569D-80B1-974B5411428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538243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9" name="Symbol zastępczy tekstu 2">
            <a:extLst>
              <a:ext uri="{FF2B5EF4-FFF2-40B4-BE49-F238E27FC236}">
                <a16:creationId xmlns:a16="http://schemas.microsoft.com/office/drawing/2014/main" id="{46ECE8B2-0222-2700-1AD9-800A65E130A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526382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0" name="Symbol zastępczy tekstu 2">
            <a:extLst>
              <a:ext uri="{FF2B5EF4-FFF2-40B4-BE49-F238E27FC236}">
                <a16:creationId xmlns:a16="http://schemas.microsoft.com/office/drawing/2014/main" id="{B4A5448C-D6F6-2B2C-0743-73064C7F8D6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255216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1" name="Symbol zastępczy tekstu 2">
            <a:extLst>
              <a:ext uri="{FF2B5EF4-FFF2-40B4-BE49-F238E27FC236}">
                <a16:creationId xmlns:a16="http://schemas.microsoft.com/office/drawing/2014/main" id="{93F9327B-6BF1-FFAE-4A5B-40EA0E18F10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974367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2" name="Symbol zastępczy tekstu 2">
            <a:extLst>
              <a:ext uri="{FF2B5EF4-FFF2-40B4-BE49-F238E27FC236}">
                <a16:creationId xmlns:a16="http://schemas.microsoft.com/office/drawing/2014/main" id="{48BCECF2-7E7A-B169-1751-316929C45B3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67246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3" name="Symbol zastępczy tekstu 2">
            <a:extLst>
              <a:ext uri="{FF2B5EF4-FFF2-40B4-BE49-F238E27FC236}">
                <a16:creationId xmlns:a16="http://schemas.microsoft.com/office/drawing/2014/main" id="{C05F78E8-F004-A3FB-2D44-9044FED5334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105081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4" name="Symbol zastępczy tekstu 2">
            <a:extLst>
              <a:ext uri="{FF2B5EF4-FFF2-40B4-BE49-F238E27FC236}">
                <a16:creationId xmlns:a16="http://schemas.microsoft.com/office/drawing/2014/main" id="{C8E3E179-8875-DA8C-F78B-FE0732B8F99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83191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A040866A-87C5-3EAE-4AEA-B80970BCF2FB}"/>
              </a:ext>
            </a:extLst>
          </p:cNvPr>
          <p:cNvSpPr txBox="1"/>
          <p:nvPr/>
        </p:nvSpPr>
        <p:spPr>
          <a:xfrm>
            <a:off x="833078" y="3127507"/>
            <a:ext cx="10398723" cy="55148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stosowania ceł antydumpingowych 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obec płytek ceramicznych importowanych z </a:t>
            </a:r>
            <a:r>
              <a:rPr lang="pl-PL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i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a teren Unii Europejskiej (w tym Polski) oraz przedłużenie ceł antydumpingowych od m-ca listopada br., wobec płytek importowanych z </a:t>
            </a:r>
            <a:r>
              <a:rPr lang="pl-PL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in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winowo rosnących cen gazu ziemnego i energii elektrycznej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 ostatnich miesiącach oraz ich skutki na koszt wytworzenia produkowanych płytek ceramicznych.</a:t>
            </a:r>
          </a:p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szerzenia listy branż o branżę ceramiczną w temacie dofinansowania energochłonnych branż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 pominiętych w wytycznych w Dyrektywie Unijnej z 2019 roku, dotyczącej handlu emisjami (ETS), co w konsekwencji przełożyło się na brak możliwości tego typu dofinansowań przez poszczególne Rządy Państw Wspólnotowych (w tym Polski – brak ujętej branży ceramicznej – płytek ceramicznych w ustawie RP z 2019r.).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l-PL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zszerzenia kontroli płytek ceramicznych na rynku polskim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importowanych z Indii i Turcji o badania na zgodność parametrów deklarowanych przez producentów z parametrami ujętymi w zharmonizowanej normie europejskiej EN 14411. Do obecnej chwili brak takich kontroli przez organ nadzorujący jakim jest Główny Urząd Nadzoru Budowlanego (GUNB).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ykonania i spełnienia wymogów dodatkowych badań (</a:t>
            </a:r>
            <a:r>
              <a:rPr lang="pl-PL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EC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ponad badania na zgodność z zharmonizowaną normą europejską EN 14411, które musi wykonać producent, produkujący na terenie Unii Europejskiej, aby mógł być dopuszczony do sprzedaży wyprodukowanych przez siebie płytek </a:t>
            </a:r>
            <a:r>
              <a:rPr lang="pl-PL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 rynek francuski.</a:t>
            </a:r>
            <a:endParaRPr lang="pl-PL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574C399B-A1F2-5AEB-002E-62ECB69CE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515525"/>
            <a:ext cx="16560800" cy="1031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42811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altLang="pl-PL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-18"/>
              </a:rPr>
              <a:t>  </a:t>
            </a:r>
            <a:r>
              <a:rPr kumimoji="0" lang="pl-PL" altLang="pl-PL" sz="4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-18"/>
              </a:rPr>
              <a:t>      </a:t>
            </a:r>
            <a:endParaRPr kumimoji="0" lang="pl-PL" altLang="pl-PL" sz="3000" b="1" i="0" u="none" strike="noStrike" cap="none" normalizeH="0" baseline="0" dirty="0">
              <a:ln>
                <a:noFill/>
              </a:ln>
              <a:solidFill>
                <a:srgbClr val="1E2D68"/>
              </a:solidFill>
              <a:effectLst/>
              <a:latin typeface="Titillium Web" panose="00000500000000000000" pitchFamily="2" charset="-18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altLang="pl-P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C89BC929-6B96-AC16-5584-966DBD63F0BE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1801" y="3466763"/>
            <a:ext cx="4885852" cy="3664389"/>
          </a:xfrm>
          <a:prstGeom prst="rect">
            <a:avLst/>
          </a:prstGeom>
        </p:spPr>
      </p:pic>
      <p:sp>
        <p:nvSpPr>
          <p:cNvPr id="9" name="pole tekstowe 8">
            <a:extLst>
              <a:ext uri="{FF2B5EF4-FFF2-40B4-BE49-F238E27FC236}">
                <a16:creationId xmlns:a16="http://schemas.microsoft.com/office/drawing/2014/main" id="{9924A0E3-FFAA-922A-6302-714BE496A14F}"/>
              </a:ext>
            </a:extLst>
          </p:cNvPr>
          <p:cNvSpPr txBox="1"/>
          <p:nvPr/>
        </p:nvSpPr>
        <p:spPr>
          <a:xfrm>
            <a:off x="1222727" y="2110917"/>
            <a:ext cx="87443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/>
              <a:t>Spotkania: z europosłami – członkami KE, 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yrektorem generalnym ENTSOG (</a:t>
            </a:r>
            <a:r>
              <a:rPr lang="pl-PL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uropean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twork of </a:t>
            </a:r>
            <a:r>
              <a:rPr lang="pl-PL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mission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ystem </a:t>
            </a:r>
            <a:r>
              <a:rPr lang="pl-PL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erators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</a:t>
            </a:r>
            <a:r>
              <a:rPr lang="pl-PL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s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, Doradcami w Sekcji Ekonomiczno-Handlowej przy Stałym Przedstawicielstwie Rządu Polskiego przy UE w Brukseli</a:t>
            </a:r>
            <a:endParaRPr lang="pl-PL" dirty="0"/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4BEB01D8-5AB0-0C58-02E7-1AC33713A597}"/>
              </a:ext>
            </a:extLst>
          </p:cNvPr>
          <p:cNvSpPr txBox="1"/>
          <p:nvPr/>
        </p:nvSpPr>
        <p:spPr>
          <a:xfrm>
            <a:off x="12370563" y="7149818"/>
            <a:ext cx="39574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/>
              <a:t>Reprezentacja PUC w Brukseli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28EB6FC-B738-F013-8749-B5507AB37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1800" y="1224411"/>
            <a:ext cx="4883791" cy="2060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1763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C5FACCBB-6994-4084-B7B4-BDE597DA8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5" imgH="416" progId="TCLayout.ActiveDocument.1">
                  <p:embed/>
                </p:oleObj>
              </mc:Choice>
              <mc:Fallback>
                <p:oleObj name="think-cell Slide" r:id="rId25" imgW="415" imgH="41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C5FACCBB-6994-4084-B7B4-BDE597DA8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Obraz 21">
            <a:extLst>
              <a:ext uri="{FF2B5EF4-FFF2-40B4-BE49-F238E27FC236}">
                <a16:creationId xmlns:a16="http://schemas.microsoft.com/office/drawing/2014/main" id="{6606AAF4-A9F3-D123-3589-35F91C535333}"/>
              </a:ext>
            </a:extLst>
          </p:cNvPr>
          <p:cNvPicPr>
            <a:picLocks noChangeAspect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64" b="32234"/>
          <a:stretch/>
        </p:blipFill>
        <p:spPr>
          <a:xfrm>
            <a:off x="1633733" y="1063948"/>
            <a:ext cx="14483919" cy="90855"/>
          </a:xfrm>
          <a:prstGeom prst="rect">
            <a:avLst/>
          </a:prstGeom>
        </p:spPr>
      </p:pic>
      <p:pic>
        <p:nvPicPr>
          <p:cNvPr id="23" name="Obraz 22">
            <a:extLst>
              <a:ext uri="{FF2B5EF4-FFF2-40B4-BE49-F238E27FC236}">
                <a16:creationId xmlns:a16="http://schemas.microsoft.com/office/drawing/2014/main" id="{8BF4C95F-BE67-0DDF-E02E-575A0B87DD81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24" y="370285"/>
            <a:ext cx="2051348" cy="451735"/>
          </a:xfrm>
          <a:prstGeom prst="rect">
            <a:avLst/>
          </a:prstGeom>
        </p:spPr>
      </p:pic>
      <p:pic>
        <p:nvPicPr>
          <p:cNvPr id="24" name="Obraz 23">
            <a:extLst>
              <a:ext uri="{FF2B5EF4-FFF2-40B4-BE49-F238E27FC236}">
                <a16:creationId xmlns:a16="http://schemas.microsoft.com/office/drawing/2014/main" id="{E1289A76-9FB8-172C-1588-B4B4C83299C0}"/>
              </a:ext>
            </a:extLst>
          </p:cNvPr>
          <p:cNvPicPr>
            <a:picLocks noChangeAspect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1" t="-2998" r="9208" b="17911"/>
          <a:stretch/>
        </p:blipFill>
        <p:spPr>
          <a:xfrm>
            <a:off x="0" y="8188229"/>
            <a:ext cx="16560799" cy="103883"/>
          </a:xfrm>
          <a:prstGeom prst="rect">
            <a:avLst/>
          </a:prstGeom>
        </p:spPr>
      </p:pic>
      <p:sp>
        <p:nvSpPr>
          <p:cNvPr id="28" name="object 79">
            <a:extLst>
              <a:ext uri="{FF2B5EF4-FFF2-40B4-BE49-F238E27FC236}">
                <a16:creationId xmlns:a16="http://schemas.microsoft.com/office/drawing/2014/main" id="{01AF504C-4CD2-799D-737E-E37E4D5264EC}"/>
              </a:ext>
            </a:extLst>
          </p:cNvPr>
          <p:cNvSpPr txBox="1"/>
          <p:nvPr/>
        </p:nvSpPr>
        <p:spPr>
          <a:xfrm>
            <a:off x="762124" y="1289778"/>
            <a:ext cx="7282256" cy="627451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>
              <a:spcBef>
                <a:spcPts val="93"/>
              </a:spcBef>
            </a:pPr>
            <a:r>
              <a:rPr lang="pl-PL" sz="4000" spc="74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8</a:t>
            </a:r>
            <a:r>
              <a:rPr lang="pl-PL" sz="4000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 </a:t>
            </a:r>
            <a:r>
              <a:rPr lang="pl-PL" sz="1600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  </a:t>
            </a:r>
            <a:r>
              <a:rPr lang="pl-PL" sz="2000" b="1" spc="-14" dirty="0" err="1">
                <a:cs typeface="Gilroy Light"/>
              </a:rPr>
              <a:t>MEiN</a:t>
            </a:r>
            <a:r>
              <a:rPr lang="pl-PL" sz="2000" b="1" spc="-14" dirty="0">
                <a:cs typeface="Gilroy Light"/>
              </a:rPr>
              <a:t>:  BCU (BRANŻOWE CENTRUM UMIEJĘTNOŚCI) </a:t>
            </a:r>
          </a:p>
        </p:txBody>
      </p:sp>
      <p:sp useBgFill="1">
        <p:nvSpPr>
          <p:cNvPr id="44" name="Symbol zastępczy tekstu 2">
            <a:extLst>
              <a:ext uri="{FF2B5EF4-FFF2-40B4-BE49-F238E27FC236}">
                <a16:creationId xmlns:a16="http://schemas.microsoft.com/office/drawing/2014/main" id="{37ACA3FA-43D3-F969-5B64-4AE5E36655A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945966" y="5493962"/>
            <a:ext cx="204918" cy="124399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 useBgFill="1">
        <p:nvSpPr>
          <p:cNvPr id="50" name="Symbol zastępczy tekstu 2">
            <a:extLst>
              <a:ext uri="{FF2B5EF4-FFF2-40B4-BE49-F238E27FC236}">
                <a16:creationId xmlns:a16="http://schemas.microsoft.com/office/drawing/2014/main" id="{32D859A7-7144-5FF0-5A69-6F742837248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3098854" y="3769784"/>
            <a:ext cx="246068" cy="138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58" name="pole tekstowe 16">
            <a:extLst>
              <a:ext uri="{FF2B5EF4-FFF2-40B4-BE49-F238E27FC236}">
                <a16:creationId xmlns:a16="http://schemas.microsoft.com/office/drawing/2014/main" id="{E3351ADE-8716-82A9-76F0-615B7F9CAA69}"/>
              </a:ext>
            </a:extLst>
          </p:cNvPr>
          <p:cNvSpPr txBox="1"/>
          <p:nvPr/>
        </p:nvSpPr>
        <p:spPr>
          <a:xfrm>
            <a:off x="3531983" y="242201"/>
            <a:ext cx="11180716" cy="85328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r" rtl="0"/>
            <a:r>
              <a:rPr lang="pl-PL" sz="2400" dirty="0">
                <a:latin typeface="Gilroy Light" panose="00000400000000000000" pitchFamily="50" charset="-18"/>
              </a:rPr>
              <a:t>BRANŻA PŁYTEK CERAMICZNYCH   |   DZIAŁANIA</a:t>
            </a:r>
          </a:p>
        </p:txBody>
      </p:sp>
      <p:sp>
        <p:nvSpPr>
          <p:cNvPr id="66" name="Symbol zastępczy tekstu 2">
            <a:extLst>
              <a:ext uri="{FF2B5EF4-FFF2-40B4-BE49-F238E27FC236}">
                <a16:creationId xmlns:a16="http://schemas.microsoft.com/office/drawing/2014/main" id="{2E9D4379-B809-FA2E-31EB-6F86090903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8329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7" name="Symbol zastępczy tekstu 2">
            <a:extLst>
              <a:ext uri="{FF2B5EF4-FFF2-40B4-BE49-F238E27FC236}">
                <a16:creationId xmlns:a16="http://schemas.microsoft.com/office/drawing/2014/main" id="{2138C451-BF7A-9821-EBE5-150717F7385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59197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8" name="Symbol zastępczy tekstu 2">
            <a:extLst>
              <a:ext uri="{FF2B5EF4-FFF2-40B4-BE49-F238E27FC236}">
                <a16:creationId xmlns:a16="http://schemas.microsoft.com/office/drawing/2014/main" id="{98D0C4AE-7ECB-E5AF-059E-ACEA6C02FBF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383930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9" name="Symbol zastępczy tekstu 2">
            <a:extLst>
              <a:ext uri="{FF2B5EF4-FFF2-40B4-BE49-F238E27FC236}">
                <a16:creationId xmlns:a16="http://schemas.microsoft.com/office/drawing/2014/main" id="{7D8C7D9A-21B3-9B65-910C-8D3C59F2634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31028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0" name="Symbol zastępczy tekstu 2">
            <a:extLst>
              <a:ext uri="{FF2B5EF4-FFF2-40B4-BE49-F238E27FC236}">
                <a16:creationId xmlns:a16="http://schemas.microsoft.com/office/drawing/2014/main" id="{17672053-4179-6CDF-716E-412F1F621A7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75453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1" name="Symbol zastępczy tekstu 2">
            <a:extLst>
              <a:ext uri="{FF2B5EF4-FFF2-40B4-BE49-F238E27FC236}">
                <a16:creationId xmlns:a16="http://schemas.microsoft.com/office/drawing/2014/main" id="{BC1BE9E6-C0FF-E1DB-0C6F-1584D1BB240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0841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2" name="Symbol zastępczy tekstu 2">
            <a:extLst>
              <a:ext uri="{FF2B5EF4-FFF2-40B4-BE49-F238E27FC236}">
                <a16:creationId xmlns:a16="http://schemas.microsoft.com/office/drawing/2014/main" id="{67A6F60D-29F7-6188-678F-8BB4A871D06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372663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3" name="Symbol zastępczy tekstu 2">
            <a:extLst>
              <a:ext uri="{FF2B5EF4-FFF2-40B4-BE49-F238E27FC236}">
                <a16:creationId xmlns:a16="http://schemas.microsoft.com/office/drawing/2014/main" id="{FAAA3231-8319-2AD3-C10C-6DC132523C3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3481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4" name="Symbol zastępczy tekstu 2">
            <a:extLst>
              <a:ext uri="{FF2B5EF4-FFF2-40B4-BE49-F238E27FC236}">
                <a16:creationId xmlns:a16="http://schemas.microsoft.com/office/drawing/2014/main" id="{62454E12-B5A2-B9C9-6BFC-0A66F9ACCA5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955961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5" name="Symbol zastępczy tekstu 2">
            <a:extLst>
              <a:ext uri="{FF2B5EF4-FFF2-40B4-BE49-F238E27FC236}">
                <a16:creationId xmlns:a16="http://schemas.microsoft.com/office/drawing/2014/main" id="{E9D88C3A-E7E1-E319-BA54-DB3A67A72AA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02522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6" name="Symbol zastępczy tekstu 2">
            <a:extLst>
              <a:ext uri="{FF2B5EF4-FFF2-40B4-BE49-F238E27FC236}">
                <a16:creationId xmlns:a16="http://schemas.microsoft.com/office/drawing/2014/main" id="{7BC11D14-C21D-440F-D43F-EB1D22A6D16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473688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7" name="Symbol zastępczy tekstu 2">
            <a:extLst>
              <a:ext uri="{FF2B5EF4-FFF2-40B4-BE49-F238E27FC236}">
                <a16:creationId xmlns:a16="http://schemas.microsoft.com/office/drawing/2014/main" id="{31024E1D-F097-96AC-1D40-0A9842C24DE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1598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8" name="Symbol zastępczy tekstu 2">
            <a:extLst>
              <a:ext uri="{FF2B5EF4-FFF2-40B4-BE49-F238E27FC236}">
                <a16:creationId xmlns:a16="http://schemas.microsoft.com/office/drawing/2014/main" id="{F8040A55-FC5B-569D-80B1-974B5411428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538243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9" name="Symbol zastępczy tekstu 2">
            <a:extLst>
              <a:ext uri="{FF2B5EF4-FFF2-40B4-BE49-F238E27FC236}">
                <a16:creationId xmlns:a16="http://schemas.microsoft.com/office/drawing/2014/main" id="{46ECE8B2-0222-2700-1AD9-800A65E130A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526382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0" name="Symbol zastępczy tekstu 2">
            <a:extLst>
              <a:ext uri="{FF2B5EF4-FFF2-40B4-BE49-F238E27FC236}">
                <a16:creationId xmlns:a16="http://schemas.microsoft.com/office/drawing/2014/main" id="{B4A5448C-D6F6-2B2C-0743-73064C7F8D6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255216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1" name="Symbol zastępczy tekstu 2">
            <a:extLst>
              <a:ext uri="{FF2B5EF4-FFF2-40B4-BE49-F238E27FC236}">
                <a16:creationId xmlns:a16="http://schemas.microsoft.com/office/drawing/2014/main" id="{93F9327B-6BF1-FFAE-4A5B-40EA0E18F10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974367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2" name="Symbol zastępczy tekstu 2">
            <a:extLst>
              <a:ext uri="{FF2B5EF4-FFF2-40B4-BE49-F238E27FC236}">
                <a16:creationId xmlns:a16="http://schemas.microsoft.com/office/drawing/2014/main" id="{48BCECF2-7E7A-B169-1751-316929C45B3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67246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3" name="Symbol zastępczy tekstu 2">
            <a:extLst>
              <a:ext uri="{FF2B5EF4-FFF2-40B4-BE49-F238E27FC236}">
                <a16:creationId xmlns:a16="http://schemas.microsoft.com/office/drawing/2014/main" id="{C05F78E8-F004-A3FB-2D44-9044FED5334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105081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4" name="Symbol zastępczy tekstu 2">
            <a:extLst>
              <a:ext uri="{FF2B5EF4-FFF2-40B4-BE49-F238E27FC236}">
                <a16:creationId xmlns:a16="http://schemas.microsoft.com/office/drawing/2014/main" id="{C8E3E179-8875-DA8C-F78B-FE0732B8F99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83191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538C2D47-9202-6104-9732-4D1927D8BAB5}"/>
              </a:ext>
            </a:extLst>
          </p:cNvPr>
          <p:cNvSpPr txBox="1"/>
          <p:nvPr/>
        </p:nvSpPr>
        <p:spPr>
          <a:xfrm>
            <a:off x="1140084" y="6696817"/>
            <a:ext cx="1041503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pl-PL" dirty="0"/>
              <a:t>W dniu </a:t>
            </a:r>
            <a:r>
              <a:rPr lang="pl-PL" b="1" dirty="0"/>
              <a:t>06.12.2022r.</a:t>
            </a:r>
            <a:r>
              <a:rPr lang="pl-PL" dirty="0"/>
              <a:t>, </a:t>
            </a:r>
            <a:r>
              <a:rPr lang="pl-PL" b="1" dirty="0"/>
              <a:t>PUC</a:t>
            </a:r>
            <a:r>
              <a:rPr lang="pl-PL" dirty="0"/>
              <a:t>, jako Partner Główny złożyła dokumenty do </a:t>
            </a:r>
            <a:r>
              <a:rPr lang="pl-PL" b="1" dirty="0"/>
              <a:t>Starostwa Powiatowego </a:t>
            </a:r>
            <a:r>
              <a:rPr lang="pl-PL" dirty="0"/>
              <a:t>w Opocznie w ramach konkursu zorganizowanego przez </a:t>
            </a:r>
            <a:r>
              <a:rPr lang="pl-PL" b="1" dirty="0"/>
              <a:t>Ministerstwo Edukacji i Nauki </a:t>
            </a:r>
            <a:r>
              <a:rPr lang="pl-PL" dirty="0"/>
              <a:t>na utworzenie </a:t>
            </a:r>
            <a:r>
              <a:rPr lang="pl-PL" b="1" dirty="0"/>
              <a:t>Branżowego Centrum Umiejętności dla branży płytek ceramicznych w Opocznie</a:t>
            </a:r>
            <a:r>
              <a:rPr lang="pl-PL" dirty="0"/>
              <a:t>. Partnerem dodatkowym przedsięwzięcia będzie </a:t>
            </a:r>
            <a:r>
              <a:rPr lang="pl-PL" b="1" dirty="0"/>
              <a:t>Wydział Inżynierii Materiałowej i Ceramiki AGH w Krakowie</a:t>
            </a:r>
            <a:r>
              <a:rPr lang="pl-PL" dirty="0"/>
              <a:t>, który także złożył dokumenty w Starostwie Opoczyńskim.</a:t>
            </a:r>
          </a:p>
        </p:txBody>
      </p:sp>
      <p:pic>
        <p:nvPicPr>
          <p:cNvPr id="2050" name="Picture 2" descr="Ministerstwo Edukacji i Nauki">
            <a:hlinkClick r:id="rId30"/>
            <a:extLst>
              <a:ext uri="{FF2B5EF4-FFF2-40B4-BE49-F238E27FC236}">
                <a16:creationId xmlns:a16="http://schemas.microsoft.com/office/drawing/2014/main" id="{664B3033-250C-D13C-6FCA-0D4BD48DCD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0549" y="1063948"/>
            <a:ext cx="4017515" cy="1625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id="{35F79447-218B-6F70-EE7E-C87668947ACA}"/>
              </a:ext>
            </a:extLst>
          </p:cNvPr>
          <p:cNvSpPr txBox="1"/>
          <p:nvPr/>
        </p:nvSpPr>
        <p:spPr>
          <a:xfrm>
            <a:off x="1167567" y="2426257"/>
            <a:ext cx="14225666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4200"/>
              </a:spcBef>
              <a:spcAft>
                <a:spcPts val="0"/>
              </a:spcAft>
              <a:buClr>
                <a:srgbClr val="00B0F0"/>
              </a:buClr>
              <a:buSzTx/>
              <a:tabLst/>
              <a:defRPr/>
            </a:pPr>
            <a:r>
              <a:rPr kumimoji="0" lang="pl-PL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Beneficjenci</a:t>
            </a:r>
            <a:r>
              <a:rPr kumimoji="0" lang="pl-PL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:</a:t>
            </a:r>
          </a:p>
          <a:p>
            <a:pPr marL="1346200" marR="0" lvl="0" indent="-72390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B0F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pl-PL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organizacje branżowe </a:t>
            </a:r>
            <a:r>
              <a:rPr lang="pl-PL" b="1" dirty="0">
                <a:ea typeface="Lato" panose="020F0502020204030203" pitchFamily="34" charset="0"/>
                <a:cs typeface="Lato" panose="020F0502020204030203" pitchFamily="34" charset="0"/>
              </a:rPr>
              <a:t>(np. stowarzyszenia</a:t>
            </a:r>
            <a:r>
              <a:rPr lang="pl-PL" dirty="0">
                <a:ea typeface="Lato" panose="020F0502020204030203" pitchFamily="34" charset="0"/>
                <a:cs typeface="Lato" panose="020F0502020204030203" pitchFamily="34" charset="0"/>
              </a:rPr>
              <a:t>) </a:t>
            </a:r>
            <a:r>
              <a:rPr kumimoji="0" lang="pl-PL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w partnerstwie ze szkołami / centrami / Jednostkami Samorządu Terytorialnego</a:t>
            </a:r>
            <a:br>
              <a:rPr kumimoji="0" lang="pl-PL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kumimoji="0" lang="pl-PL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albo</a:t>
            </a:r>
          </a:p>
          <a:p>
            <a:pPr marL="1346200" lvl="0" indent="-723900">
              <a:spcBef>
                <a:spcPts val="1200"/>
              </a:spcBef>
              <a:buClr>
                <a:srgbClr val="00B0F0"/>
              </a:buClr>
              <a:buFont typeface="Wingdings" panose="05000000000000000000" pitchFamily="2" charset="2"/>
              <a:buChar char="Ø"/>
              <a:defRPr/>
            </a:pPr>
            <a:r>
              <a:rPr kumimoji="0" lang="pl-PL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szkoły / centra / Jednostki Samorządu Terytorialnego w partnerstwie  z </a:t>
            </a:r>
            <a:r>
              <a:rPr lang="pl-PL" dirty="0">
                <a:ea typeface="Lato" panose="020F0502020204030203" pitchFamily="34" charset="0"/>
                <a:cs typeface="Lato" panose="020F0502020204030203" pitchFamily="34" charset="0"/>
              </a:rPr>
              <a:t>organizacjami branżowymi (np. stowarzyszeniami)</a:t>
            </a:r>
          </a:p>
          <a:p>
            <a:pPr lvl="0">
              <a:spcBef>
                <a:spcPts val="1800"/>
              </a:spcBef>
              <a:buClr>
                <a:srgbClr val="00B0F0"/>
              </a:buClr>
              <a:defRPr/>
            </a:pPr>
            <a:r>
              <a:rPr kumimoji="0" lang="pl-PL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Partnerstwo:</a:t>
            </a:r>
            <a:r>
              <a:rPr kumimoji="0" lang="pl-PL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 z uczelniami, instytutami, ośrodkami badawczymi, właściwymi urzędami centralnymi, etc.</a:t>
            </a:r>
            <a:endParaRPr lang="pl-PL" dirty="0"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285750" lvl="0" indent="-285750">
              <a:spcBef>
                <a:spcPts val="180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/>
            </a:pPr>
            <a:r>
              <a:rPr kumimoji="0" lang="pl-PL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Budowa/ rozbudowa/ przebudowa lub adaptacja oraz wyposażenie 120 nowoczesnych branżowych centrów kształcenia, szkolenia i egzaminowania </a:t>
            </a:r>
            <a:r>
              <a:rPr kumimoji="0" lang="pl-PL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dla uczniów, studentów, pracowników firm i innych osób uczących się</a:t>
            </a:r>
          </a:p>
          <a:p>
            <a:pPr marL="285750" lvl="0" indent="-285750">
              <a:spcBef>
                <a:spcPts val="180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/>
            </a:pPr>
            <a:r>
              <a:rPr kumimoji="0" lang="pl-PL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Lokalizacja centrów –</a:t>
            </a:r>
            <a:r>
              <a:rPr kumimoji="0" lang="pl-PL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kumimoji="0" lang="pl-PL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przy szkołach / centrach</a:t>
            </a:r>
          </a:p>
          <a:p>
            <a:pPr lvl="0">
              <a:spcBef>
                <a:spcPts val="1800"/>
              </a:spcBef>
              <a:buClr>
                <a:srgbClr val="00B0F0"/>
              </a:buClr>
              <a:defRPr/>
            </a:pPr>
            <a:r>
              <a:rPr lang="pl-PL" b="1" dirty="0">
                <a:ea typeface="Lato" panose="020F0502020204030203" pitchFamily="34" charset="0"/>
                <a:cs typeface="Lato" panose="020F0502020204030203" pitchFamily="34" charset="0"/>
              </a:rPr>
              <a:t>Projekt BCU wpisuje się w koncepcję europejskiej inicjatywy centrów doskonałości zawodowej</a:t>
            </a:r>
            <a:br>
              <a:rPr lang="pl-PL" b="1" dirty="0"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pl-PL" b="1" dirty="0">
                <a:ea typeface="Lato" panose="020F0502020204030203" pitchFamily="34" charset="0"/>
                <a:cs typeface="Lato" panose="020F0502020204030203" pitchFamily="34" charset="0"/>
              </a:rPr>
              <a:t>(ang. </a:t>
            </a:r>
            <a:r>
              <a:rPr lang="pl-PL" b="1" dirty="0" err="1">
                <a:ea typeface="Lato" panose="020F0502020204030203" pitchFamily="34" charset="0"/>
                <a:cs typeface="Lato" panose="020F0502020204030203" pitchFamily="34" charset="0"/>
              </a:rPr>
              <a:t>Centers</a:t>
            </a:r>
            <a:r>
              <a:rPr lang="pl-PL" b="1" dirty="0">
                <a:ea typeface="Lato" panose="020F0502020204030203" pitchFamily="34" charset="0"/>
                <a:cs typeface="Lato" panose="020F0502020204030203" pitchFamily="34" charset="0"/>
              </a:rPr>
              <a:t> of </a:t>
            </a:r>
            <a:r>
              <a:rPr lang="pl-PL" b="1" dirty="0" err="1">
                <a:ea typeface="Lato" panose="020F0502020204030203" pitchFamily="34" charset="0"/>
                <a:cs typeface="Lato" panose="020F0502020204030203" pitchFamily="34" charset="0"/>
              </a:rPr>
              <a:t>Vokational</a:t>
            </a:r>
            <a:r>
              <a:rPr lang="pl-PL" b="1" dirty="0">
                <a:ea typeface="Lato" panose="020F0502020204030203" pitchFamily="34" charset="0"/>
                <a:cs typeface="Lato" panose="020F0502020204030203" pitchFamily="34" charset="0"/>
              </a:rPr>
              <a:t> Excellence)</a:t>
            </a:r>
            <a:endParaRPr lang="pl-PL" dirty="0"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1E1236BC-BAB5-7BF0-6FD7-B9728BF97097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115" y="5101711"/>
            <a:ext cx="4821585" cy="3216901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541B8619-0F60-88D9-ABF1-4C3A438A35B2}"/>
              </a:ext>
            </a:extLst>
          </p:cNvPr>
          <p:cNvSpPr txBox="1"/>
          <p:nvPr/>
        </p:nvSpPr>
        <p:spPr>
          <a:xfrm>
            <a:off x="1140084" y="1968359"/>
            <a:ext cx="8581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/>
              <a:t>Cel: przygotowanie zasobów ludzkich dla branży producentów płytek ceramicznych</a:t>
            </a:r>
          </a:p>
        </p:txBody>
      </p:sp>
    </p:spTree>
    <p:extLst>
      <p:ext uri="{BB962C8B-B14F-4D97-AF65-F5344CB8AC3E}">
        <p14:creationId xmlns:p14="http://schemas.microsoft.com/office/powerpoint/2010/main" val="5454045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C5FACCBB-6994-4084-B7B4-BDE597DA8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5" imgH="416" progId="TCLayout.ActiveDocument.1">
                  <p:embed/>
                </p:oleObj>
              </mc:Choice>
              <mc:Fallback>
                <p:oleObj name="think-cell Slide" r:id="rId25" imgW="415" imgH="41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C5FACCBB-6994-4084-B7B4-BDE597DA8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Obraz 21">
            <a:extLst>
              <a:ext uri="{FF2B5EF4-FFF2-40B4-BE49-F238E27FC236}">
                <a16:creationId xmlns:a16="http://schemas.microsoft.com/office/drawing/2014/main" id="{6606AAF4-A9F3-D123-3589-35F91C535333}"/>
              </a:ext>
            </a:extLst>
          </p:cNvPr>
          <p:cNvPicPr>
            <a:picLocks noChangeAspect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64" b="32234"/>
          <a:stretch/>
        </p:blipFill>
        <p:spPr>
          <a:xfrm>
            <a:off x="1633733" y="1063948"/>
            <a:ext cx="14483919" cy="90855"/>
          </a:xfrm>
          <a:prstGeom prst="rect">
            <a:avLst/>
          </a:prstGeom>
        </p:spPr>
      </p:pic>
      <p:pic>
        <p:nvPicPr>
          <p:cNvPr id="23" name="Obraz 22">
            <a:extLst>
              <a:ext uri="{FF2B5EF4-FFF2-40B4-BE49-F238E27FC236}">
                <a16:creationId xmlns:a16="http://schemas.microsoft.com/office/drawing/2014/main" id="{8BF4C95F-BE67-0DDF-E02E-575A0B87DD81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24" y="370285"/>
            <a:ext cx="2051348" cy="451735"/>
          </a:xfrm>
          <a:prstGeom prst="rect">
            <a:avLst/>
          </a:prstGeom>
        </p:spPr>
      </p:pic>
      <p:pic>
        <p:nvPicPr>
          <p:cNvPr id="24" name="Obraz 23">
            <a:extLst>
              <a:ext uri="{FF2B5EF4-FFF2-40B4-BE49-F238E27FC236}">
                <a16:creationId xmlns:a16="http://schemas.microsoft.com/office/drawing/2014/main" id="{E1289A76-9FB8-172C-1588-B4B4C83299C0}"/>
              </a:ext>
            </a:extLst>
          </p:cNvPr>
          <p:cNvPicPr>
            <a:picLocks noChangeAspect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1" t="-2998" r="9208" b="17911"/>
          <a:stretch/>
        </p:blipFill>
        <p:spPr>
          <a:xfrm>
            <a:off x="0" y="8188229"/>
            <a:ext cx="16560799" cy="103883"/>
          </a:xfrm>
          <a:prstGeom prst="rect">
            <a:avLst/>
          </a:prstGeom>
        </p:spPr>
      </p:pic>
      <p:sp>
        <p:nvSpPr>
          <p:cNvPr id="28" name="object 79">
            <a:extLst>
              <a:ext uri="{FF2B5EF4-FFF2-40B4-BE49-F238E27FC236}">
                <a16:creationId xmlns:a16="http://schemas.microsoft.com/office/drawing/2014/main" id="{01AF504C-4CD2-799D-737E-E37E4D5264EC}"/>
              </a:ext>
            </a:extLst>
          </p:cNvPr>
          <p:cNvSpPr txBox="1"/>
          <p:nvPr/>
        </p:nvSpPr>
        <p:spPr>
          <a:xfrm>
            <a:off x="762123" y="1289778"/>
            <a:ext cx="8959037" cy="627451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>
              <a:spcBef>
                <a:spcPts val="93"/>
              </a:spcBef>
            </a:pPr>
            <a:r>
              <a:rPr lang="pl-PL" sz="4000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 </a:t>
            </a:r>
            <a:r>
              <a:rPr lang="pl-PL" sz="1600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  </a:t>
            </a:r>
            <a:r>
              <a:rPr lang="pl-PL" sz="2000" b="1" spc="-14" dirty="0">
                <a:cs typeface="Gilroy Light"/>
              </a:rPr>
              <a:t>WYZWANIA PRZED BRANŻĄ PRODUCENTÓW PŁYTEK CERAMICZNYCH – (PUC)  </a:t>
            </a:r>
          </a:p>
        </p:txBody>
      </p:sp>
      <p:sp useBgFill="1">
        <p:nvSpPr>
          <p:cNvPr id="44" name="Symbol zastępczy tekstu 2">
            <a:extLst>
              <a:ext uri="{FF2B5EF4-FFF2-40B4-BE49-F238E27FC236}">
                <a16:creationId xmlns:a16="http://schemas.microsoft.com/office/drawing/2014/main" id="{37ACA3FA-43D3-F969-5B64-4AE5E36655A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945966" y="5493962"/>
            <a:ext cx="204918" cy="124399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 useBgFill="1">
        <p:nvSpPr>
          <p:cNvPr id="50" name="Symbol zastępczy tekstu 2">
            <a:extLst>
              <a:ext uri="{FF2B5EF4-FFF2-40B4-BE49-F238E27FC236}">
                <a16:creationId xmlns:a16="http://schemas.microsoft.com/office/drawing/2014/main" id="{32D859A7-7144-5FF0-5A69-6F742837248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3098854" y="3769784"/>
            <a:ext cx="246068" cy="138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58" name="pole tekstowe 16">
            <a:extLst>
              <a:ext uri="{FF2B5EF4-FFF2-40B4-BE49-F238E27FC236}">
                <a16:creationId xmlns:a16="http://schemas.microsoft.com/office/drawing/2014/main" id="{E3351ADE-8716-82A9-76F0-615B7F9CAA69}"/>
              </a:ext>
            </a:extLst>
          </p:cNvPr>
          <p:cNvSpPr txBox="1"/>
          <p:nvPr/>
        </p:nvSpPr>
        <p:spPr>
          <a:xfrm>
            <a:off x="3531983" y="242201"/>
            <a:ext cx="11180716" cy="85328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r" rtl="0"/>
            <a:r>
              <a:rPr lang="pl-PL" sz="2400" dirty="0">
                <a:latin typeface="Gilroy Light" panose="00000400000000000000" pitchFamily="50" charset="-18"/>
              </a:rPr>
              <a:t>BRANŻA PŁYTEK CERAMICZNYCH   |   WYZWANIA</a:t>
            </a:r>
          </a:p>
        </p:txBody>
      </p:sp>
      <p:sp>
        <p:nvSpPr>
          <p:cNvPr id="66" name="Symbol zastępczy tekstu 2">
            <a:extLst>
              <a:ext uri="{FF2B5EF4-FFF2-40B4-BE49-F238E27FC236}">
                <a16:creationId xmlns:a16="http://schemas.microsoft.com/office/drawing/2014/main" id="{2E9D4379-B809-FA2E-31EB-6F86090903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8329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7" name="Symbol zastępczy tekstu 2">
            <a:extLst>
              <a:ext uri="{FF2B5EF4-FFF2-40B4-BE49-F238E27FC236}">
                <a16:creationId xmlns:a16="http://schemas.microsoft.com/office/drawing/2014/main" id="{2138C451-BF7A-9821-EBE5-150717F7385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59197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8" name="Symbol zastępczy tekstu 2">
            <a:extLst>
              <a:ext uri="{FF2B5EF4-FFF2-40B4-BE49-F238E27FC236}">
                <a16:creationId xmlns:a16="http://schemas.microsoft.com/office/drawing/2014/main" id="{98D0C4AE-7ECB-E5AF-059E-ACEA6C02FBF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383930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9" name="Symbol zastępczy tekstu 2">
            <a:extLst>
              <a:ext uri="{FF2B5EF4-FFF2-40B4-BE49-F238E27FC236}">
                <a16:creationId xmlns:a16="http://schemas.microsoft.com/office/drawing/2014/main" id="{7D8C7D9A-21B3-9B65-910C-8D3C59F2634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31028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0" name="Symbol zastępczy tekstu 2">
            <a:extLst>
              <a:ext uri="{FF2B5EF4-FFF2-40B4-BE49-F238E27FC236}">
                <a16:creationId xmlns:a16="http://schemas.microsoft.com/office/drawing/2014/main" id="{17672053-4179-6CDF-716E-412F1F621A7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75453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1" name="Symbol zastępczy tekstu 2">
            <a:extLst>
              <a:ext uri="{FF2B5EF4-FFF2-40B4-BE49-F238E27FC236}">
                <a16:creationId xmlns:a16="http://schemas.microsoft.com/office/drawing/2014/main" id="{BC1BE9E6-C0FF-E1DB-0C6F-1584D1BB240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0841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2" name="Symbol zastępczy tekstu 2">
            <a:extLst>
              <a:ext uri="{FF2B5EF4-FFF2-40B4-BE49-F238E27FC236}">
                <a16:creationId xmlns:a16="http://schemas.microsoft.com/office/drawing/2014/main" id="{67A6F60D-29F7-6188-678F-8BB4A871D06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372663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3" name="Symbol zastępczy tekstu 2">
            <a:extLst>
              <a:ext uri="{FF2B5EF4-FFF2-40B4-BE49-F238E27FC236}">
                <a16:creationId xmlns:a16="http://schemas.microsoft.com/office/drawing/2014/main" id="{FAAA3231-8319-2AD3-C10C-6DC132523C3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3481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4" name="Symbol zastępczy tekstu 2">
            <a:extLst>
              <a:ext uri="{FF2B5EF4-FFF2-40B4-BE49-F238E27FC236}">
                <a16:creationId xmlns:a16="http://schemas.microsoft.com/office/drawing/2014/main" id="{62454E12-B5A2-B9C9-6BFC-0A66F9ACCA5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955961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5" name="Symbol zastępczy tekstu 2">
            <a:extLst>
              <a:ext uri="{FF2B5EF4-FFF2-40B4-BE49-F238E27FC236}">
                <a16:creationId xmlns:a16="http://schemas.microsoft.com/office/drawing/2014/main" id="{E9D88C3A-E7E1-E319-BA54-DB3A67A72AA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02522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6" name="Symbol zastępczy tekstu 2">
            <a:extLst>
              <a:ext uri="{FF2B5EF4-FFF2-40B4-BE49-F238E27FC236}">
                <a16:creationId xmlns:a16="http://schemas.microsoft.com/office/drawing/2014/main" id="{7BC11D14-C21D-440F-D43F-EB1D22A6D16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473688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7" name="Symbol zastępczy tekstu 2">
            <a:extLst>
              <a:ext uri="{FF2B5EF4-FFF2-40B4-BE49-F238E27FC236}">
                <a16:creationId xmlns:a16="http://schemas.microsoft.com/office/drawing/2014/main" id="{31024E1D-F097-96AC-1D40-0A9842C24DE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1598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8" name="Symbol zastępczy tekstu 2">
            <a:extLst>
              <a:ext uri="{FF2B5EF4-FFF2-40B4-BE49-F238E27FC236}">
                <a16:creationId xmlns:a16="http://schemas.microsoft.com/office/drawing/2014/main" id="{F8040A55-FC5B-569D-80B1-974B5411428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538243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9" name="Symbol zastępczy tekstu 2">
            <a:extLst>
              <a:ext uri="{FF2B5EF4-FFF2-40B4-BE49-F238E27FC236}">
                <a16:creationId xmlns:a16="http://schemas.microsoft.com/office/drawing/2014/main" id="{46ECE8B2-0222-2700-1AD9-800A65E130A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526382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0" name="Symbol zastępczy tekstu 2">
            <a:extLst>
              <a:ext uri="{FF2B5EF4-FFF2-40B4-BE49-F238E27FC236}">
                <a16:creationId xmlns:a16="http://schemas.microsoft.com/office/drawing/2014/main" id="{B4A5448C-D6F6-2B2C-0743-73064C7F8D6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255216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1" name="Symbol zastępczy tekstu 2">
            <a:extLst>
              <a:ext uri="{FF2B5EF4-FFF2-40B4-BE49-F238E27FC236}">
                <a16:creationId xmlns:a16="http://schemas.microsoft.com/office/drawing/2014/main" id="{93F9327B-6BF1-FFAE-4A5B-40EA0E18F10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974367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2" name="Symbol zastępczy tekstu 2">
            <a:extLst>
              <a:ext uri="{FF2B5EF4-FFF2-40B4-BE49-F238E27FC236}">
                <a16:creationId xmlns:a16="http://schemas.microsoft.com/office/drawing/2014/main" id="{48BCECF2-7E7A-B169-1751-316929C45B3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67246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3" name="Symbol zastępczy tekstu 2">
            <a:extLst>
              <a:ext uri="{FF2B5EF4-FFF2-40B4-BE49-F238E27FC236}">
                <a16:creationId xmlns:a16="http://schemas.microsoft.com/office/drawing/2014/main" id="{C05F78E8-F004-A3FB-2D44-9044FED5334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105081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4" name="Symbol zastępczy tekstu 2">
            <a:extLst>
              <a:ext uri="{FF2B5EF4-FFF2-40B4-BE49-F238E27FC236}">
                <a16:creationId xmlns:a16="http://schemas.microsoft.com/office/drawing/2014/main" id="{C8E3E179-8875-DA8C-F78B-FE0732B8F99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83191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541B8619-0F60-88D9-ABF1-4C3A438A35B2}"/>
              </a:ext>
            </a:extLst>
          </p:cNvPr>
          <p:cNvSpPr txBox="1"/>
          <p:nvPr/>
        </p:nvSpPr>
        <p:spPr>
          <a:xfrm>
            <a:off x="624852" y="2384987"/>
            <a:ext cx="15155340" cy="6432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2000" b="1" dirty="0"/>
              <a:t>Cena i dostępność gazu ziemnego 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2000" b="1" dirty="0"/>
              <a:t>Cena i dostępność energii elektrycznej 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2000" b="1" dirty="0"/>
              <a:t>Zabezpieczenie bazy surowcowej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2000" b="1" dirty="0"/>
              <a:t>Fit for 55 </a:t>
            </a:r>
            <a:r>
              <a:rPr lang="pl-PL" sz="2000" b="1" i="0" dirty="0">
                <a:solidFill>
                  <a:srgbClr val="3F4A52"/>
                </a:solidFill>
                <a:effectLst/>
              </a:rPr>
              <a:t>„Gotowi na 55” - </a:t>
            </a:r>
            <a:r>
              <a:rPr lang="pl-PL" sz="2000" b="0" i="0" dirty="0">
                <a:solidFill>
                  <a:srgbClr val="3F4A52"/>
                </a:solidFill>
                <a:effectLst/>
              </a:rPr>
              <a:t>W europejskim prawie o klimacie zapisano </a:t>
            </a:r>
            <a:r>
              <a:rPr lang="pl-PL" sz="2000" b="1" i="0" dirty="0">
                <a:solidFill>
                  <a:srgbClr val="3F4A52"/>
                </a:solidFill>
                <a:effectLst/>
              </a:rPr>
              <a:t>obowiązkowy unijny cel klimatyczny</a:t>
            </a:r>
            <a:r>
              <a:rPr lang="pl-PL" sz="2000" b="0" i="0" dirty="0">
                <a:solidFill>
                  <a:srgbClr val="3F4A52"/>
                </a:solidFill>
                <a:effectLst/>
              </a:rPr>
              <a:t>,</a:t>
            </a:r>
            <a:br>
              <a:rPr lang="pl-PL" sz="2000" b="0" i="0" dirty="0">
                <a:solidFill>
                  <a:srgbClr val="3F4A52"/>
                </a:solidFill>
                <a:effectLst/>
              </a:rPr>
            </a:br>
            <a:r>
              <a:rPr lang="pl-PL" sz="2000" b="0" i="0" dirty="0">
                <a:solidFill>
                  <a:srgbClr val="3F4A52"/>
                </a:solidFill>
                <a:effectLst/>
              </a:rPr>
              <a:t>którym jest </a:t>
            </a:r>
            <a:r>
              <a:rPr lang="pl-PL" sz="2000" b="1" i="0" dirty="0">
                <a:solidFill>
                  <a:srgbClr val="3F4A52"/>
                </a:solidFill>
                <a:effectLst/>
              </a:rPr>
              <a:t>ograniczenie emisji CO</a:t>
            </a:r>
            <a:r>
              <a:rPr lang="pl-PL" sz="2000" b="1" i="0" baseline="-25000" dirty="0">
                <a:solidFill>
                  <a:srgbClr val="3F4A52"/>
                </a:solidFill>
                <a:effectLst/>
              </a:rPr>
              <a:t>2</a:t>
            </a:r>
            <a:r>
              <a:rPr lang="pl-PL" sz="2000" b="1" i="0" dirty="0">
                <a:solidFill>
                  <a:srgbClr val="3F4A52"/>
                </a:solidFill>
                <a:effectLst/>
              </a:rPr>
              <a:t> w UE o co najmniej 55% do 2030 </a:t>
            </a:r>
            <a:r>
              <a:rPr lang="pl-PL" sz="2000" b="0" i="0" dirty="0">
                <a:solidFill>
                  <a:srgbClr val="3F4A52"/>
                </a:solidFill>
                <a:effectLst/>
              </a:rPr>
              <a:t>r. Państwa UE pracują nad nowymi</a:t>
            </a:r>
            <a:br>
              <a:rPr lang="pl-PL" sz="2000" b="0" i="0" dirty="0">
                <a:solidFill>
                  <a:srgbClr val="3F4A52"/>
                </a:solidFill>
                <a:effectLst/>
              </a:rPr>
            </a:br>
            <a:r>
              <a:rPr lang="pl-PL" sz="2000" b="0" i="0" dirty="0">
                <a:solidFill>
                  <a:srgbClr val="3F4A52"/>
                </a:solidFill>
                <a:effectLst/>
              </a:rPr>
              <a:t>przepisami, aby osiągnąć ten cel, a do 2050 r. uczynić UE neutralną dla klimatu</a:t>
            </a:r>
            <a:r>
              <a:rPr lang="pl-PL" sz="2000" b="1" dirty="0">
                <a:solidFill>
                  <a:srgbClr val="3F4A52"/>
                </a:solidFill>
              </a:rPr>
              <a:t>:</a:t>
            </a:r>
            <a:br>
              <a:rPr lang="pl-PL" sz="2000" b="1" dirty="0">
                <a:solidFill>
                  <a:srgbClr val="3F4A52"/>
                </a:solidFill>
              </a:rPr>
            </a:br>
            <a:r>
              <a:rPr lang="pl-PL" sz="2000" b="1" dirty="0">
                <a:solidFill>
                  <a:srgbClr val="3F4A52"/>
                </a:solidFill>
              </a:rPr>
              <a:t>- </a:t>
            </a:r>
            <a:r>
              <a:rPr lang="pl-PL" sz="2000" b="1" i="0" dirty="0">
                <a:solidFill>
                  <a:srgbClr val="3F4A52"/>
                </a:solidFill>
                <a:effectLst/>
              </a:rPr>
              <a:t>Unijny system handlu uprawnieniami do emisji </a:t>
            </a:r>
            <a:r>
              <a:rPr lang="pl-PL" sz="2000" b="0" i="0" dirty="0">
                <a:solidFill>
                  <a:srgbClr val="3F4A52"/>
                </a:solidFill>
                <a:effectLst/>
              </a:rPr>
              <a:t>(</a:t>
            </a:r>
            <a:r>
              <a:rPr lang="pl-PL" sz="2000" b="1" i="0" dirty="0">
                <a:solidFill>
                  <a:srgbClr val="3F4A52"/>
                </a:solidFill>
                <a:effectLst/>
              </a:rPr>
              <a:t>ETS</a:t>
            </a:r>
            <a:r>
              <a:rPr lang="pl-PL" sz="2000" b="0" i="0" dirty="0">
                <a:solidFill>
                  <a:srgbClr val="3F4A52"/>
                </a:solidFill>
                <a:effectLst/>
              </a:rPr>
              <a:t>)</a:t>
            </a:r>
            <a:r>
              <a:rPr lang="pl-PL" sz="2000" b="1" i="0" dirty="0">
                <a:solidFill>
                  <a:srgbClr val="3F4A52"/>
                </a:solidFill>
                <a:effectLst/>
              </a:rPr>
              <a:t> - </a:t>
            </a:r>
            <a:r>
              <a:rPr lang="pl-PL" sz="2000" b="0" i="0" dirty="0">
                <a:solidFill>
                  <a:srgbClr val="3F4A52"/>
                </a:solidFill>
                <a:effectLst/>
              </a:rPr>
              <a:t>Komisja zaproponowała kompleksową</a:t>
            </a:r>
            <a:br>
              <a:rPr lang="pl-PL" sz="2000" b="0" i="0" dirty="0">
                <a:solidFill>
                  <a:srgbClr val="3F4A52"/>
                </a:solidFill>
                <a:effectLst/>
              </a:rPr>
            </a:br>
            <a:r>
              <a:rPr lang="pl-PL" sz="2000" b="0" i="0" dirty="0">
                <a:solidFill>
                  <a:srgbClr val="3F4A52"/>
                </a:solidFill>
                <a:effectLst/>
              </a:rPr>
              <a:t>zmianę</a:t>
            </a:r>
            <a:r>
              <a:rPr lang="pl-PL" sz="2000" dirty="0">
                <a:solidFill>
                  <a:srgbClr val="3F4A52"/>
                </a:solidFill>
              </a:rPr>
              <a:t> </a:t>
            </a:r>
            <a:r>
              <a:rPr lang="pl-PL" sz="2000" b="0" i="0" dirty="0">
                <a:solidFill>
                  <a:srgbClr val="3F4A52"/>
                </a:solidFill>
                <a:effectLst/>
              </a:rPr>
              <a:t>obowiązującego unijnego systemu handlu uprawnieniami do emisji (</a:t>
            </a:r>
            <a:r>
              <a:rPr lang="pl-PL" sz="2000" b="1" i="0" dirty="0">
                <a:solidFill>
                  <a:srgbClr val="3F4A52"/>
                </a:solidFill>
                <a:effectLst/>
              </a:rPr>
              <a:t>ETS</a:t>
            </a:r>
            <a:r>
              <a:rPr lang="pl-PL" sz="2000" b="0" i="0" dirty="0">
                <a:solidFill>
                  <a:srgbClr val="3F4A52"/>
                </a:solidFill>
                <a:effectLst/>
              </a:rPr>
              <a:t>).</a:t>
            </a:r>
            <a:br>
              <a:rPr lang="pl-PL" sz="2000" b="0" i="0" dirty="0">
                <a:solidFill>
                  <a:srgbClr val="3F4A52"/>
                </a:solidFill>
                <a:effectLst/>
              </a:rPr>
            </a:br>
            <a:r>
              <a:rPr lang="pl-PL" sz="2000" b="0" i="0" dirty="0">
                <a:solidFill>
                  <a:srgbClr val="3F4A52"/>
                </a:solidFill>
                <a:effectLst/>
              </a:rPr>
              <a:t>Celem jest zredukowanie </a:t>
            </a:r>
            <a:r>
              <a:rPr lang="pl-PL" sz="2000" b="1" i="0" dirty="0">
                <a:solidFill>
                  <a:srgbClr val="3F4A52"/>
                </a:solidFill>
                <a:effectLst/>
              </a:rPr>
              <a:t>do 2030 r.</a:t>
            </a:r>
            <a:r>
              <a:rPr lang="pl-PL" sz="2000" b="0" i="0" dirty="0">
                <a:solidFill>
                  <a:srgbClr val="3F4A52"/>
                </a:solidFill>
                <a:effectLst/>
              </a:rPr>
              <a:t> emisji w sektorach </a:t>
            </a:r>
            <a:r>
              <a:rPr lang="pl-PL" sz="2000" b="1" i="0" dirty="0">
                <a:solidFill>
                  <a:srgbClr val="3F4A52"/>
                </a:solidFill>
                <a:effectLst/>
              </a:rPr>
              <a:t>o 61% </a:t>
            </a:r>
            <a:r>
              <a:rPr lang="pl-PL" sz="2000" b="0" i="0" dirty="0">
                <a:solidFill>
                  <a:srgbClr val="3F4A52"/>
                </a:solidFill>
                <a:effectLst/>
              </a:rPr>
              <a:t>w porównaniu z 2005 r.</a:t>
            </a:r>
          </a:p>
          <a:p>
            <a:endParaRPr lang="pl-PL" sz="2000" b="0" i="0" dirty="0">
              <a:solidFill>
                <a:srgbClr val="3F4A52"/>
              </a:solidFill>
              <a:effectLst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2000" b="1" dirty="0"/>
              <a:t>Poszukiwanie nowych technologii, rozwiązań i źródeł finansowania przede wszystkim</a:t>
            </a:r>
            <a:br>
              <a:rPr lang="pl-PL" sz="2000" b="1" dirty="0"/>
            </a:br>
            <a:r>
              <a:rPr lang="pl-PL" sz="2000" b="1" dirty="0"/>
              <a:t>w obszarze nośników energii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2000" b="1" dirty="0"/>
              <a:t>Dostosowanie ustawodawstwa unijnego do ustawodawstwa krajowego, dotyczącego</a:t>
            </a:r>
            <a:br>
              <a:rPr lang="pl-PL" sz="2000" b="1" dirty="0"/>
            </a:br>
            <a:r>
              <a:rPr lang="pl-PL" sz="2000" b="1" dirty="0"/>
              <a:t>produkowanych wyrobów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2000" b="1" dirty="0"/>
              <a:t>Ochrona rynku krajowego przed nieuczciwą konkurencją (w szczególności w zakresie</a:t>
            </a:r>
            <a:br>
              <a:rPr lang="pl-PL" sz="2000" b="1" dirty="0"/>
            </a:br>
            <a:r>
              <a:rPr lang="pl-PL" sz="2000" b="1" dirty="0"/>
              <a:t>importu wyrobów na teren Polski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2000" b="1" dirty="0"/>
              <a:t>Kształcenie kadr dla branży – uruchomienie BCU jako ośrodka kształcenia zawodowego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l-PL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l-PL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l-PL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l-PL" b="1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DB773D5-05EA-DBE2-05FF-908317EEC7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6107" y="1326930"/>
            <a:ext cx="3263749" cy="222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A25079FA-BC7A-B168-8048-3D90C4E1F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3194" y="4182398"/>
            <a:ext cx="5700605" cy="3679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pole tekstowe 10">
            <a:extLst>
              <a:ext uri="{FF2B5EF4-FFF2-40B4-BE49-F238E27FC236}">
                <a16:creationId xmlns:a16="http://schemas.microsoft.com/office/drawing/2014/main" id="{4009E8DB-7755-120C-ED9E-96723D3C7F61}"/>
              </a:ext>
            </a:extLst>
          </p:cNvPr>
          <p:cNvSpPr txBox="1"/>
          <p:nvPr/>
        </p:nvSpPr>
        <p:spPr>
          <a:xfrm>
            <a:off x="9677033" y="7655584"/>
            <a:ext cx="214063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400" dirty="0"/>
              <a:t>Albert </a:t>
            </a:r>
            <a:r>
              <a:rPr lang="pl-PL" sz="1400" dirty="0" err="1"/>
              <a:t>Robida</a:t>
            </a:r>
            <a:endParaRPr lang="pl-PL" sz="1400" dirty="0"/>
          </a:p>
          <a:p>
            <a:r>
              <a:rPr lang="pl-PL" sz="1400" dirty="0"/>
              <a:t>Futurystyczna wizja Paryża w 2000 roku (1902)</a:t>
            </a:r>
          </a:p>
        </p:txBody>
      </p:sp>
    </p:spTree>
    <p:extLst>
      <p:ext uri="{BB962C8B-B14F-4D97-AF65-F5344CB8AC3E}">
        <p14:creationId xmlns:p14="http://schemas.microsoft.com/office/powerpoint/2010/main" val="10369989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59F961B5-934C-43DE-B9D5-EF3821A72182}"/>
              </a:ext>
            </a:extLst>
          </p:cNvPr>
          <p:cNvSpPr/>
          <p:nvPr/>
        </p:nvSpPr>
        <p:spPr>
          <a:xfrm>
            <a:off x="0" y="0"/>
            <a:ext cx="16560800" cy="864356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" name="object 30">
            <a:extLst>
              <a:ext uri="{FF2B5EF4-FFF2-40B4-BE49-F238E27FC236}">
                <a16:creationId xmlns:a16="http://schemas.microsoft.com/office/drawing/2014/main" id="{E002C729-B3A9-4868-4C5C-60B8B4018348}"/>
              </a:ext>
            </a:extLst>
          </p:cNvPr>
          <p:cNvSpPr txBox="1"/>
          <p:nvPr/>
        </p:nvSpPr>
        <p:spPr>
          <a:xfrm>
            <a:off x="4406936" y="3470627"/>
            <a:ext cx="7723081" cy="14414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248285" algn="ctr">
              <a:spcBef>
                <a:spcPts val="50"/>
              </a:spcBef>
            </a:pPr>
            <a:r>
              <a:rPr lang="pl-PL" sz="6000" b="1" spc="80" dirty="0">
                <a:solidFill>
                  <a:schemeClr val="bg1"/>
                </a:solidFill>
                <a:cs typeface="Gilroy Light"/>
              </a:rPr>
              <a:t>Dziękuję</a:t>
            </a:r>
          </a:p>
          <a:p>
            <a:pPr marL="12700" marR="5080" indent="248285" algn="ctr">
              <a:spcBef>
                <a:spcPts val="50"/>
              </a:spcBef>
            </a:pPr>
            <a:r>
              <a:rPr lang="pl-PL" sz="3100" spc="80" dirty="0">
                <a:solidFill>
                  <a:schemeClr val="bg1"/>
                </a:solidFill>
                <a:cs typeface="Gilroy Light"/>
              </a:rPr>
              <a:t>za uwagę</a:t>
            </a:r>
            <a:endParaRPr sz="3100" dirty="0">
              <a:solidFill>
                <a:schemeClr val="bg1"/>
              </a:solidFill>
              <a:cs typeface="Gilroy Light"/>
            </a:endParaRPr>
          </a:p>
        </p:txBody>
      </p:sp>
      <p:pic>
        <p:nvPicPr>
          <p:cNvPr id="39" name="Obraz 38">
            <a:extLst>
              <a:ext uri="{FF2B5EF4-FFF2-40B4-BE49-F238E27FC236}">
                <a16:creationId xmlns:a16="http://schemas.microsoft.com/office/drawing/2014/main" id="{025878FB-FD50-7225-3726-87C01643406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024" y="7479990"/>
            <a:ext cx="1082751" cy="489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7413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C5FACCBB-6994-4084-B7B4-BDE597DA8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9033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C5FACCBB-6994-4084-B7B4-BDE597DA8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ole tekstowe 16">
            <a:extLst>
              <a:ext uri="{FF2B5EF4-FFF2-40B4-BE49-F238E27FC236}">
                <a16:creationId xmlns:a16="http://schemas.microsoft.com/office/drawing/2014/main" id="{06AA0E6A-DA1C-7338-16B0-9B72D4D6FD13}"/>
              </a:ext>
            </a:extLst>
          </p:cNvPr>
          <p:cNvSpPr txBox="1"/>
          <p:nvPr/>
        </p:nvSpPr>
        <p:spPr>
          <a:xfrm>
            <a:off x="3531983" y="242201"/>
            <a:ext cx="11180716" cy="85328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r" rtl="0"/>
            <a:r>
              <a:rPr lang="pl-PL" sz="2400" dirty="0">
                <a:latin typeface="Gilroy Light" panose="00000400000000000000" pitchFamily="50" charset="-18"/>
              </a:rPr>
              <a:t>POLSKA   | MAPA PRODUCENTÓW PŁYTEK CERAMICZNYCH</a:t>
            </a: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7B6C2280-32A5-82FC-F419-70DF073A1E7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64" b="32234"/>
          <a:stretch/>
        </p:blipFill>
        <p:spPr>
          <a:xfrm>
            <a:off x="1633733" y="1063948"/>
            <a:ext cx="14483919" cy="90855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DDDFD712-3CF6-777C-A639-D44370FAA5D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24" y="370285"/>
            <a:ext cx="2051348" cy="451735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AFA9266D-0155-8308-3B8B-6D0ED053076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328" y="1898841"/>
            <a:ext cx="1445051" cy="353171"/>
          </a:xfrm>
          <a:prstGeom prst="rect">
            <a:avLst/>
          </a:prstGeom>
        </p:spPr>
      </p:pic>
      <p:grpSp>
        <p:nvGrpSpPr>
          <p:cNvPr id="28" name="Grupa 27">
            <a:extLst>
              <a:ext uri="{FF2B5EF4-FFF2-40B4-BE49-F238E27FC236}">
                <a16:creationId xmlns:a16="http://schemas.microsoft.com/office/drawing/2014/main" id="{48E5224A-F44C-0E91-9EEB-7F82E5E84C04}"/>
              </a:ext>
            </a:extLst>
          </p:cNvPr>
          <p:cNvGrpSpPr/>
          <p:nvPr/>
        </p:nvGrpSpPr>
        <p:grpSpPr>
          <a:xfrm>
            <a:off x="13763415" y="5940068"/>
            <a:ext cx="1769026" cy="521777"/>
            <a:chOff x="709561" y="2575474"/>
            <a:chExt cx="1848341" cy="545171"/>
          </a:xfrm>
        </p:grpSpPr>
        <p:sp>
          <p:nvSpPr>
            <p:cNvPr id="18" name="object 3">
              <a:extLst>
                <a:ext uri="{FF2B5EF4-FFF2-40B4-BE49-F238E27FC236}">
                  <a16:creationId xmlns:a16="http://schemas.microsoft.com/office/drawing/2014/main" id="{97648929-ED14-91AF-BE63-CF847ABE8CED}"/>
                </a:ext>
              </a:extLst>
            </p:cNvPr>
            <p:cNvSpPr/>
            <p:nvPr/>
          </p:nvSpPr>
          <p:spPr>
            <a:xfrm>
              <a:off x="1355163" y="2762918"/>
              <a:ext cx="1202739" cy="169924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9" name="object 4">
              <a:extLst>
                <a:ext uri="{FF2B5EF4-FFF2-40B4-BE49-F238E27FC236}">
                  <a16:creationId xmlns:a16="http://schemas.microsoft.com/office/drawing/2014/main" id="{C5220327-EB28-EB4C-8E97-A8CE8FF1716C}"/>
                </a:ext>
              </a:extLst>
            </p:cNvPr>
            <p:cNvSpPr/>
            <p:nvPr/>
          </p:nvSpPr>
          <p:spPr>
            <a:xfrm>
              <a:off x="709561" y="2575474"/>
              <a:ext cx="560633" cy="545171"/>
            </a:xfrm>
            <a:custGeom>
              <a:avLst/>
              <a:gdLst/>
              <a:ahLst/>
              <a:cxnLst/>
              <a:rect l="l" t="t" r="r" b="b"/>
              <a:pathLst>
                <a:path w="529590" h="514984">
                  <a:moveTo>
                    <a:pt x="472008" y="200774"/>
                  </a:moveTo>
                  <a:lnTo>
                    <a:pt x="271957" y="400824"/>
                  </a:lnTo>
                  <a:lnTo>
                    <a:pt x="271957" y="514870"/>
                  </a:lnTo>
                  <a:lnTo>
                    <a:pt x="529031" y="257797"/>
                  </a:lnTo>
                  <a:lnTo>
                    <a:pt x="472008" y="200774"/>
                  </a:lnTo>
                  <a:close/>
                </a:path>
                <a:path w="529590" h="514984">
                  <a:moveTo>
                    <a:pt x="405409" y="133451"/>
                  </a:moveTo>
                  <a:lnTo>
                    <a:pt x="271957" y="266903"/>
                  </a:lnTo>
                  <a:lnTo>
                    <a:pt x="271957" y="380949"/>
                  </a:lnTo>
                  <a:lnTo>
                    <a:pt x="462419" y="190474"/>
                  </a:lnTo>
                  <a:lnTo>
                    <a:pt x="405409" y="133451"/>
                  </a:lnTo>
                  <a:close/>
                </a:path>
                <a:path w="529590" h="514984">
                  <a:moveTo>
                    <a:pt x="338442" y="66497"/>
                  </a:moveTo>
                  <a:lnTo>
                    <a:pt x="271957" y="132981"/>
                  </a:lnTo>
                  <a:lnTo>
                    <a:pt x="271957" y="247027"/>
                  </a:lnTo>
                  <a:lnTo>
                    <a:pt x="395465" y="123507"/>
                  </a:lnTo>
                  <a:lnTo>
                    <a:pt x="338442" y="66497"/>
                  </a:lnTo>
                  <a:close/>
                </a:path>
                <a:path w="529590" h="514984">
                  <a:moveTo>
                    <a:pt x="271957" y="0"/>
                  </a:moveTo>
                  <a:lnTo>
                    <a:pt x="271957" y="113093"/>
                  </a:lnTo>
                  <a:lnTo>
                    <a:pt x="328498" y="56553"/>
                  </a:lnTo>
                  <a:lnTo>
                    <a:pt x="271957" y="0"/>
                  </a:lnTo>
                  <a:close/>
                </a:path>
                <a:path w="529590" h="514984">
                  <a:moveTo>
                    <a:pt x="57023" y="200774"/>
                  </a:moveTo>
                  <a:lnTo>
                    <a:pt x="0" y="257797"/>
                  </a:lnTo>
                  <a:lnTo>
                    <a:pt x="257073" y="514870"/>
                  </a:lnTo>
                  <a:lnTo>
                    <a:pt x="257073" y="400824"/>
                  </a:lnTo>
                  <a:lnTo>
                    <a:pt x="57023" y="200774"/>
                  </a:lnTo>
                  <a:close/>
                </a:path>
                <a:path w="529590" h="514984">
                  <a:moveTo>
                    <a:pt x="123621" y="133451"/>
                  </a:moveTo>
                  <a:lnTo>
                    <a:pt x="66598" y="190474"/>
                  </a:lnTo>
                  <a:lnTo>
                    <a:pt x="257073" y="380949"/>
                  </a:lnTo>
                  <a:lnTo>
                    <a:pt x="257073" y="266903"/>
                  </a:lnTo>
                  <a:lnTo>
                    <a:pt x="123621" y="133451"/>
                  </a:lnTo>
                  <a:close/>
                </a:path>
                <a:path w="529590" h="514984">
                  <a:moveTo>
                    <a:pt x="190576" y="66497"/>
                  </a:moveTo>
                  <a:lnTo>
                    <a:pt x="133565" y="123507"/>
                  </a:lnTo>
                  <a:lnTo>
                    <a:pt x="257073" y="247027"/>
                  </a:lnTo>
                  <a:lnTo>
                    <a:pt x="257073" y="132981"/>
                  </a:lnTo>
                  <a:lnTo>
                    <a:pt x="190576" y="66497"/>
                  </a:lnTo>
                  <a:close/>
                </a:path>
                <a:path w="529590" h="514984">
                  <a:moveTo>
                    <a:pt x="257073" y="0"/>
                  </a:moveTo>
                  <a:lnTo>
                    <a:pt x="200520" y="56553"/>
                  </a:lnTo>
                  <a:lnTo>
                    <a:pt x="257073" y="113093"/>
                  </a:lnTo>
                  <a:lnTo>
                    <a:pt x="257073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pic>
        <p:nvPicPr>
          <p:cNvPr id="39" name="Obraz 38">
            <a:extLst>
              <a:ext uri="{FF2B5EF4-FFF2-40B4-BE49-F238E27FC236}">
                <a16:creationId xmlns:a16="http://schemas.microsoft.com/office/drawing/2014/main" id="{FC971BC7-2F4B-0A76-B2C5-7C701CB7767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29000" contras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3160" y="1486758"/>
            <a:ext cx="6890602" cy="6531517"/>
          </a:xfrm>
          <a:prstGeom prst="rect">
            <a:avLst/>
          </a:prstGeom>
          <a:effectLst>
            <a:outerShdw blurRad="292100" dist="38100" dir="2700000" sx="101000" sy="101000" algn="tl" rotWithShape="0">
              <a:prstClr val="black">
                <a:alpha val="6000"/>
              </a:prstClr>
            </a:outerShdw>
          </a:effectLst>
        </p:spPr>
      </p:pic>
      <p:sp>
        <p:nvSpPr>
          <p:cNvPr id="92" name="Google Shape;412;p20">
            <a:extLst>
              <a:ext uri="{FF2B5EF4-FFF2-40B4-BE49-F238E27FC236}">
                <a16:creationId xmlns:a16="http://schemas.microsoft.com/office/drawing/2014/main" id="{F81C0691-86D1-972B-B49B-D4664D3B15BA}"/>
              </a:ext>
            </a:extLst>
          </p:cNvPr>
          <p:cNvSpPr/>
          <p:nvPr/>
        </p:nvSpPr>
        <p:spPr>
          <a:xfrm>
            <a:off x="9401822" y="5727624"/>
            <a:ext cx="132380" cy="132340"/>
          </a:xfrm>
          <a:custGeom>
            <a:avLst/>
            <a:gdLst/>
            <a:ahLst/>
            <a:cxnLst/>
            <a:rect l="l" t="t" r="r" b="b"/>
            <a:pathLst>
              <a:path w="3359" h="3358" extrusionOk="0">
                <a:moveTo>
                  <a:pt x="1680" y="0"/>
                </a:moveTo>
                <a:cubicBezTo>
                  <a:pt x="751" y="0"/>
                  <a:pt x="1" y="750"/>
                  <a:pt x="1" y="1679"/>
                </a:cubicBezTo>
                <a:cubicBezTo>
                  <a:pt x="1" y="2608"/>
                  <a:pt x="751" y="3358"/>
                  <a:pt x="1680" y="3358"/>
                </a:cubicBezTo>
                <a:cubicBezTo>
                  <a:pt x="2608" y="3358"/>
                  <a:pt x="3358" y="2608"/>
                  <a:pt x="3358" y="1679"/>
                </a:cubicBezTo>
                <a:cubicBezTo>
                  <a:pt x="3358" y="750"/>
                  <a:pt x="2608" y="0"/>
                  <a:pt x="1680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33" name="Obraz 32">
            <a:extLst>
              <a:ext uri="{FF2B5EF4-FFF2-40B4-BE49-F238E27FC236}">
                <a16:creationId xmlns:a16="http://schemas.microsoft.com/office/drawing/2014/main" id="{6AC69191-020E-03CD-57DC-7BE776B4C12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2897" y="4030755"/>
            <a:ext cx="1707557" cy="502335"/>
          </a:xfrm>
          <a:prstGeom prst="rect">
            <a:avLst/>
          </a:prstGeom>
        </p:spPr>
      </p:pic>
      <p:pic>
        <p:nvPicPr>
          <p:cNvPr id="35" name="Obraz 34">
            <a:extLst>
              <a:ext uri="{FF2B5EF4-FFF2-40B4-BE49-F238E27FC236}">
                <a16:creationId xmlns:a16="http://schemas.microsoft.com/office/drawing/2014/main" id="{6F734653-8FF8-7E1A-959B-6B8E890DDE6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809" y="2023180"/>
            <a:ext cx="1791847" cy="281816"/>
          </a:xfrm>
          <a:prstGeom prst="rect">
            <a:avLst/>
          </a:prstGeom>
        </p:spPr>
      </p:pic>
      <p:pic>
        <p:nvPicPr>
          <p:cNvPr id="37" name="Obraz 36">
            <a:extLst>
              <a:ext uri="{FF2B5EF4-FFF2-40B4-BE49-F238E27FC236}">
                <a16:creationId xmlns:a16="http://schemas.microsoft.com/office/drawing/2014/main" id="{33D9E029-3C85-C7B4-B2EF-3BAC38C3C12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323" y="4073977"/>
            <a:ext cx="1809648" cy="541148"/>
          </a:xfrm>
          <a:prstGeom prst="rect">
            <a:avLst/>
          </a:prstGeom>
        </p:spPr>
      </p:pic>
      <p:cxnSp>
        <p:nvCxnSpPr>
          <p:cNvPr id="14" name="Łącznik prosty 13">
            <a:extLst>
              <a:ext uri="{FF2B5EF4-FFF2-40B4-BE49-F238E27FC236}">
                <a16:creationId xmlns:a16="http://schemas.microsoft.com/office/drawing/2014/main" id="{95F7D026-A7FF-0CCA-CCE9-67A51F457F9A}"/>
              </a:ext>
            </a:extLst>
          </p:cNvPr>
          <p:cNvCxnSpPr>
            <a:cxnSpLocks/>
          </p:cNvCxnSpPr>
          <p:nvPr/>
        </p:nvCxnSpPr>
        <p:spPr>
          <a:xfrm flipH="1">
            <a:off x="10221656" y="6130364"/>
            <a:ext cx="2231916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14">
            <a:extLst>
              <a:ext uri="{FF2B5EF4-FFF2-40B4-BE49-F238E27FC236}">
                <a16:creationId xmlns:a16="http://schemas.microsoft.com/office/drawing/2014/main" id="{01C2A112-5D02-1938-22B8-ABB6E43A174E}"/>
              </a:ext>
            </a:extLst>
          </p:cNvPr>
          <p:cNvCxnSpPr>
            <a:cxnSpLocks/>
          </p:cNvCxnSpPr>
          <p:nvPr/>
        </p:nvCxnSpPr>
        <p:spPr>
          <a:xfrm flipH="1" flipV="1">
            <a:off x="9480847" y="5772628"/>
            <a:ext cx="740809" cy="24301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>
            <a:extLst>
              <a:ext uri="{FF2B5EF4-FFF2-40B4-BE49-F238E27FC236}">
                <a16:creationId xmlns:a16="http://schemas.microsoft.com/office/drawing/2014/main" id="{3F4315BF-83C4-A328-AB1B-EAD2E48330B2}"/>
              </a:ext>
            </a:extLst>
          </p:cNvPr>
          <p:cNvCxnSpPr>
            <a:cxnSpLocks/>
          </p:cNvCxnSpPr>
          <p:nvPr/>
        </p:nvCxnSpPr>
        <p:spPr>
          <a:xfrm flipH="1">
            <a:off x="9050657" y="4118938"/>
            <a:ext cx="1014913" cy="1490125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Łącznik prosty 21">
            <a:extLst>
              <a:ext uri="{FF2B5EF4-FFF2-40B4-BE49-F238E27FC236}">
                <a16:creationId xmlns:a16="http://schemas.microsoft.com/office/drawing/2014/main" id="{8B0008A1-6A65-32D4-5FC2-FC1031BB30F3}"/>
              </a:ext>
            </a:extLst>
          </p:cNvPr>
          <p:cNvCxnSpPr>
            <a:cxnSpLocks/>
          </p:cNvCxnSpPr>
          <p:nvPr/>
        </p:nvCxnSpPr>
        <p:spPr>
          <a:xfrm flipH="1">
            <a:off x="10971734" y="2180947"/>
            <a:ext cx="1633289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2" name="Google Shape;412;p20">
            <a:extLst>
              <a:ext uri="{FF2B5EF4-FFF2-40B4-BE49-F238E27FC236}">
                <a16:creationId xmlns:a16="http://schemas.microsoft.com/office/drawing/2014/main" id="{4CE36ED9-E61F-53A8-F3EE-505277A71769}"/>
              </a:ext>
            </a:extLst>
          </p:cNvPr>
          <p:cNvSpPr/>
          <p:nvPr/>
        </p:nvSpPr>
        <p:spPr>
          <a:xfrm>
            <a:off x="8685164" y="5429520"/>
            <a:ext cx="132380" cy="132340"/>
          </a:xfrm>
          <a:custGeom>
            <a:avLst/>
            <a:gdLst/>
            <a:ahLst/>
            <a:cxnLst/>
            <a:rect l="l" t="t" r="r" b="b"/>
            <a:pathLst>
              <a:path w="3359" h="3358" extrusionOk="0">
                <a:moveTo>
                  <a:pt x="1680" y="0"/>
                </a:moveTo>
                <a:cubicBezTo>
                  <a:pt x="751" y="0"/>
                  <a:pt x="1" y="750"/>
                  <a:pt x="1" y="1679"/>
                </a:cubicBezTo>
                <a:cubicBezTo>
                  <a:pt x="1" y="2608"/>
                  <a:pt x="751" y="3358"/>
                  <a:pt x="1680" y="3358"/>
                </a:cubicBezTo>
                <a:cubicBezTo>
                  <a:pt x="2608" y="3358"/>
                  <a:pt x="3358" y="2608"/>
                  <a:pt x="3358" y="1679"/>
                </a:cubicBezTo>
                <a:cubicBezTo>
                  <a:pt x="3358" y="750"/>
                  <a:pt x="2608" y="0"/>
                  <a:pt x="1680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243" name="Łącznik prosty 242">
            <a:extLst>
              <a:ext uri="{FF2B5EF4-FFF2-40B4-BE49-F238E27FC236}">
                <a16:creationId xmlns:a16="http://schemas.microsoft.com/office/drawing/2014/main" id="{B17F92E9-0F84-70FC-B3FE-248774BF1D0A}"/>
              </a:ext>
            </a:extLst>
          </p:cNvPr>
          <p:cNvCxnSpPr>
            <a:cxnSpLocks/>
          </p:cNvCxnSpPr>
          <p:nvPr/>
        </p:nvCxnSpPr>
        <p:spPr>
          <a:xfrm flipH="1">
            <a:off x="8751354" y="2180947"/>
            <a:ext cx="2220380" cy="325604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Łącznik prosty 244">
            <a:extLst>
              <a:ext uri="{FF2B5EF4-FFF2-40B4-BE49-F238E27FC236}">
                <a16:creationId xmlns:a16="http://schemas.microsoft.com/office/drawing/2014/main" id="{027A116C-C4AB-6775-7378-1394708C8200}"/>
              </a:ext>
            </a:extLst>
          </p:cNvPr>
          <p:cNvCxnSpPr>
            <a:cxnSpLocks/>
          </p:cNvCxnSpPr>
          <p:nvPr/>
        </p:nvCxnSpPr>
        <p:spPr>
          <a:xfrm flipH="1">
            <a:off x="10221656" y="6015641"/>
            <a:ext cx="2231916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Google Shape;412;p20">
            <a:extLst>
              <a:ext uri="{FF2B5EF4-FFF2-40B4-BE49-F238E27FC236}">
                <a16:creationId xmlns:a16="http://schemas.microsoft.com/office/drawing/2014/main" id="{C41268F2-FE98-083E-EB4E-676A6CE43B9B}"/>
              </a:ext>
            </a:extLst>
          </p:cNvPr>
          <p:cNvSpPr/>
          <p:nvPr/>
        </p:nvSpPr>
        <p:spPr>
          <a:xfrm>
            <a:off x="9025535" y="5631224"/>
            <a:ext cx="132380" cy="132340"/>
          </a:xfrm>
          <a:custGeom>
            <a:avLst/>
            <a:gdLst/>
            <a:ahLst/>
            <a:cxnLst/>
            <a:rect l="l" t="t" r="r" b="b"/>
            <a:pathLst>
              <a:path w="3359" h="3358" extrusionOk="0">
                <a:moveTo>
                  <a:pt x="1680" y="0"/>
                </a:moveTo>
                <a:cubicBezTo>
                  <a:pt x="751" y="0"/>
                  <a:pt x="1" y="750"/>
                  <a:pt x="1" y="1679"/>
                </a:cubicBezTo>
                <a:cubicBezTo>
                  <a:pt x="1" y="2608"/>
                  <a:pt x="751" y="3358"/>
                  <a:pt x="1680" y="3358"/>
                </a:cubicBezTo>
                <a:cubicBezTo>
                  <a:pt x="2608" y="3358"/>
                  <a:pt x="3358" y="2608"/>
                  <a:pt x="3358" y="1679"/>
                </a:cubicBezTo>
                <a:cubicBezTo>
                  <a:pt x="3358" y="750"/>
                  <a:pt x="2608" y="0"/>
                  <a:pt x="1680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412;p20">
            <a:extLst>
              <a:ext uri="{FF2B5EF4-FFF2-40B4-BE49-F238E27FC236}">
                <a16:creationId xmlns:a16="http://schemas.microsoft.com/office/drawing/2014/main" id="{3D097B77-6154-43C4-ABD4-E9D3C199CF0A}"/>
              </a:ext>
            </a:extLst>
          </p:cNvPr>
          <p:cNvSpPr/>
          <p:nvPr/>
        </p:nvSpPr>
        <p:spPr>
          <a:xfrm>
            <a:off x="8973508" y="5569561"/>
            <a:ext cx="132380" cy="132340"/>
          </a:xfrm>
          <a:custGeom>
            <a:avLst/>
            <a:gdLst/>
            <a:ahLst/>
            <a:cxnLst/>
            <a:rect l="l" t="t" r="r" b="b"/>
            <a:pathLst>
              <a:path w="3359" h="3358" extrusionOk="0">
                <a:moveTo>
                  <a:pt x="1680" y="0"/>
                </a:moveTo>
                <a:cubicBezTo>
                  <a:pt x="751" y="0"/>
                  <a:pt x="1" y="750"/>
                  <a:pt x="1" y="1679"/>
                </a:cubicBezTo>
                <a:cubicBezTo>
                  <a:pt x="1" y="2608"/>
                  <a:pt x="751" y="3358"/>
                  <a:pt x="1680" y="3358"/>
                </a:cubicBezTo>
                <a:cubicBezTo>
                  <a:pt x="2608" y="3358"/>
                  <a:pt x="3358" y="2608"/>
                  <a:pt x="3358" y="1679"/>
                </a:cubicBezTo>
                <a:cubicBezTo>
                  <a:pt x="3358" y="750"/>
                  <a:pt x="2608" y="0"/>
                  <a:pt x="1680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29" name="Łącznik prosty 28">
            <a:extLst>
              <a:ext uri="{FF2B5EF4-FFF2-40B4-BE49-F238E27FC236}">
                <a16:creationId xmlns:a16="http://schemas.microsoft.com/office/drawing/2014/main" id="{A34B36FF-1F66-CCD7-0E0C-920FC018313D}"/>
              </a:ext>
            </a:extLst>
          </p:cNvPr>
          <p:cNvCxnSpPr>
            <a:cxnSpLocks/>
          </p:cNvCxnSpPr>
          <p:nvPr/>
        </p:nvCxnSpPr>
        <p:spPr>
          <a:xfrm flipH="1">
            <a:off x="3717066" y="6547862"/>
            <a:ext cx="1636047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Google Shape;412;p20">
            <a:extLst>
              <a:ext uri="{FF2B5EF4-FFF2-40B4-BE49-F238E27FC236}">
                <a16:creationId xmlns:a16="http://schemas.microsoft.com/office/drawing/2014/main" id="{E7BE36B7-9008-CEF0-FE7A-E41A715FC4F5}"/>
              </a:ext>
            </a:extLst>
          </p:cNvPr>
          <p:cNvSpPr/>
          <p:nvPr/>
        </p:nvSpPr>
        <p:spPr>
          <a:xfrm>
            <a:off x="8529200" y="5459402"/>
            <a:ext cx="132380" cy="132340"/>
          </a:xfrm>
          <a:custGeom>
            <a:avLst/>
            <a:gdLst/>
            <a:ahLst/>
            <a:cxnLst/>
            <a:rect l="l" t="t" r="r" b="b"/>
            <a:pathLst>
              <a:path w="3359" h="3358" extrusionOk="0">
                <a:moveTo>
                  <a:pt x="1680" y="0"/>
                </a:moveTo>
                <a:cubicBezTo>
                  <a:pt x="751" y="0"/>
                  <a:pt x="1" y="750"/>
                  <a:pt x="1" y="1679"/>
                </a:cubicBezTo>
                <a:cubicBezTo>
                  <a:pt x="1" y="2608"/>
                  <a:pt x="751" y="3358"/>
                  <a:pt x="1680" y="3358"/>
                </a:cubicBezTo>
                <a:cubicBezTo>
                  <a:pt x="2608" y="3358"/>
                  <a:pt x="3358" y="2608"/>
                  <a:pt x="3358" y="1679"/>
                </a:cubicBezTo>
                <a:cubicBezTo>
                  <a:pt x="3358" y="750"/>
                  <a:pt x="2608" y="0"/>
                  <a:pt x="1680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4" name="Grupa 33">
            <a:extLst>
              <a:ext uri="{FF2B5EF4-FFF2-40B4-BE49-F238E27FC236}">
                <a16:creationId xmlns:a16="http://schemas.microsoft.com/office/drawing/2014/main" id="{8584EBCF-C8AA-9DD7-82FC-A8D3FDC4D195}"/>
              </a:ext>
            </a:extLst>
          </p:cNvPr>
          <p:cNvGrpSpPr/>
          <p:nvPr/>
        </p:nvGrpSpPr>
        <p:grpSpPr>
          <a:xfrm>
            <a:off x="2752079" y="6016711"/>
            <a:ext cx="1077660" cy="1077660"/>
            <a:chOff x="769870" y="2274543"/>
            <a:chExt cx="3981397" cy="3981397"/>
          </a:xfrm>
        </p:grpSpPr>
        <p:sp>
          <p:nvSpPr>
            <p:cNvPr id="252" name="Owal 251">
              <a:extLst>
                <a:ext uri="{FF2B5EF4-FFF2-40B4-BE49-F238E27FC236}">
                  <a16:creationId xmlns:a16="http://schemas.microsoft.com/office/drawing/2014/main" id="{E6B089CA-76B9-8811-7070-BF8EA9091586}"/>
                </a:ext>
              </a:extLst>
            </p:cNvPr>
            <p:cNvSpPr/>
            <p:nvPr/>
          </p:nvSpPr>
          <p:spPr>
            <a:xfrm>
              <a:off x="1116142" y="2629703"/>
              <a:ext cx="3273361" cy="3273361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pic>
          <p:nvPicPr>
            <p:cNvPr id="254" name="Obraz 253">
              <a:extLst>
                <a:ext uri="{FF2B5EF4-FFF2-40B4-BE49-F238E27FC236}">
                  <a16:creationId xmlns:a16="http://schemas.microsoft.com/office/drawing/2014/main" id="{37F3CF06-3F4A-C9BF-E0F7-D80657A359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69870" y="2274543"/>
              <a:ext cx="3981397" cy="3981397"/>
            </a:xfrm>
            <a:prstGeom prst="rect">
              <a:avLst/>
            </a:prstGeom>
          </p:spPr>
        </p:pic>
        <p:sp>
          <p:nvSpPr>
            <p:cNvPr id="32" name="object 79">
              <a:extLst>
                <a:ext uri="{FF2B5EF4-FFF2-40B4-BE49-F238E27FC236}">
                  <a16:creationId xmlns:a16="http://schemas.microsoft.com/office/drawing/2014/main" id="{EA46D94E-0521-0F5A-0C6E-E21890DFB784}"/>
                </a:ext>
              </a:extLst>
            </p:cNvPr>
            <p:cNvSpPr txBox="1"/>
            <p:nvPr/>
          </p:nvSpPr>
          <p:spPr>
            <a:xfrm>
              <a:off x="1709492" y="3474947"/>
              <a:ext cx="2094126" cy="1635862"/>
            </a:xfrm>
            <a:prstGeom prst="rect">
              <a:avLst/>
            </a:prstGeom>
          </p:spPr>
          <p:txBody>
            <a:bodyPr vert="horz" wrap="square" lIns="0" tIns="11783" rIns="0" bIns="0" rtlCol="0">
              <a:spAutoFit/>
            </a:bodyPr>
            <a:lstStyle/>
            <a:p>
              <a:pPr marL="11783" algn="ctr">
                <a:spcBef>
                  <a:spcPts val="93"/>
                </a:spcBef>
              </a:pPr>
              <a:r>
                <a:rPr lang="pl-PL" sz="2800" spc="-14" dirty="0">
                  <a:latin typeface="Gilroy ExtraBold" panose="00000900000000000000" pitchFamily="50" charset="-18"/>
                  <a:cs typeface="Gilroy Light"/>
                </a:rPr>
                <a:t>3</a:t>
              </a:r>
            </a:p>
          </p:txBody>
        </p:sp>
      </p:grpSp>
      <p:grpSp>
        <p:nvGrpSpPr>
          <p:cNvPr id="36" name="Grupa 35">
            <a:extLst>
              <a:ext uri="{FF2B5EF4-FFF2-40B4-BE49-F238E27FC236}">
                <a16:creationId xmlns:a16="http://schemas.microsoft.com/office/drawing/2014/main" id="{0191728D-B2AA-8C51-9CCF-B7BBCAEB4968}"/>
              </a:ext>
            </a:extLst>
          </p:cNvPr>
          <p:cNvGrpSpPr/>
          <p:nvPr/>
        </p:nvGrpSpPr>
        <p:grpSpPr>
          <a:xfrm>
            <a:off x="2754176" y="3794020"/>
            <a:ext cx="1077660" cy="1077660"/>
            <a:chOff x="769870" y="2274543"/>
            <a:chExt cx="3981397" cy="3981397"/>
          </a:xfrm>
        </p:grpSpPr>
        <p:sp>
          <p:nvSpPr>
            <p:cNvPr id="38" name="Owal 37">
              <a:extLst>
                <a:ext uri="{FF2B5EF4-FFF2-40B4-BE49-F238E27FC236}">
                  <a16:creationId xmlns:a16="http://schemas.microsoft.com/office/drawing/2014/main" id="{1FB6B524-DF72-8B45-FB1D-C5BCDC25FBE2}"/>
                </a:ext>
              </a:extLst>
            </p:cNvPr>
            <p:cNvSpPr/>
            <p:nvPr/>
          </p:nvSpPr>
          <p:spPr>
            <a:xfrm>
              <a:off x="1116142" y="2629703"/>
              <a:ext cx="3273361" cy="3273361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pic>
          <p:nvPicPr>
            <p:cNvPr id="40" name="Obraz 39">
              <a:extLst>
                <a:ext uri="{FF2B5EF4-FFF2-40B4-BE49-F238E27FC236}">
                  <a16:creationId xmlns:a16="http://schemas.microsoft.com/office/drawing/2014/main" id="{14A36AA8-1C3E-B037-9A9D-7B2698C1B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69870" y="2274543"/>
              <a:ext cx="3981397" cy="3981397"/>
            </a:xfrm>
            <a:prstGeom prst="rect">
              <a:avLst/>
            </a:prstGeom>
          </p:spPr>
        </p:pic>
        <p:sp>
          <p:nvSpPr>
            <p:cNvPr id="41" name="object 79">
              <a:extLst>
                <a:ext uri="{FF2B5EF4-FFF2-40B4-BE49-F238E27FC236}">
                  <a16:creationId xmlns:a16="http://schemas.microsoft.com/office/drawing/2014/main" id="{01714056-B5FA-4E40-D167-5096831D1841}"/>
                </a:ext>
              </a:extLst>
            </p:cNvPr>
            <p:cNvSpPr txBox="1"/>
            <p:nvPr/>
          </p:nvSpPr>
          <p:spPr>
            <a:xfrm>
              <a:off x="1675676" y="3474947"/>
              <a:ext cx="2094126" cy="1635862"/>
            </a:xfrm>
            <a:prstGeom prst="rect">
              <a:avLst/>
            </a:prstGeom>
          </p:spPr>
          <p:txBody>
            <a:bodyPr vert="horz" wrap="square" lIns="0" tIns="11783" rIns="0" bIns="0" rtlCol="0">
              <a:spAutoFit/>
            </a:bodyPr>
            <a:lstStyle/>
            <a:p>
              <a:pPr marL="11783" algn="ctr">
                <a:spcBef>
                  <a:spcPts val="93"/>
                </a:spcBef>
              </a:pPr>
              <a:r>
                <a:rPr lang="pl-PL" sz="2800" spc="-14" dirty="0">
                  <a:latin typeface="Gilroy ExtraBold" panose="00000900000000000000" pitchFamily="50" charset="-18"/>
                  <a:cs typeface="Gilroy Light"/>
                </a:rPr>
                <a:t>2</a:t>
              </a:r>
            </a:p>
          </p:txBody>
        </p:sp>
      </p:grpSp>
      <p:grpSp>
        <p:nvGrpSpPr>
          <p:cNvPr id="42" name="Grupa 41">
            <a:extLst>
              <a:ext uri="{FF2B5EF4-FFF2-40B4-BE49-F238E27FC236}">
                <a16:creationId xmlns:a16="http://schemas.microsoft.com/office/drawing/2014/main" id="{FDCDBE8D-B297-3A45-D0E2-6EF7E675A728}"/>
              </a:ext>
            </a:extLst>
          </p:cNvPr>
          <p:cNvGrpSpPr/>
          <p:nvPr/>
        </p:nvGrpSpPr>
        <p:grpSpPr>
          <a:xfrm>
            <a:off x="2737326" y="1571329"/>
            <a:ext cx="1077660" cy="1077660"/>
            <a:chOff x="769870" y="2274543"/>
            <a:chExt cx="3981397" cy="3981397"/>
          </a:xfrm>
        </p:grpSpPr>
        <p:sp>
          <p:nvSpPr>
            <p:cNvPr id="43" name="Owal 42">
              <a:extLst>
                <a:ext uri="{FF2B5EF4-FFF2-40B4-BE49-F238E27FC236}">
                  <a16:creationId xmlns:a16="http://schemas.microsoft.com/office/drawing/2014/main" id="{FA184DAC-53EB-D808-7FA7-9AB3FA90EAD4}"/>
                </a:ext>
              </a:extLst>
            </p:cNvPr>
            <p:cNvSpPr/>
            <p:nvPr/>
          </p:nvSpPr>
          <p:spPr>
            <a:xfrm>
              <a:off x="1116142" y="2629703"/>
              <a:ext cx="3273361" cy="3273361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pic>
          <p:nvPicPr>
            <p:cNvPr id="44" name="Obraz 43">
              <a:extLst>
                <a:ext uri="{FF2B5EF4-FFF2-40B4-BE49-F238E27FC236}">
                  <a16:creationId xmlns:a16="http://schemas.microsoft.com/office/drawing/2014/main" id="{FC18CFEA-0E45-0FB9-C5D0-E3577EB8D0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69870" y="2274543"/>
              <a:ext cx="3981397" cy="3981397"/>
            </a:xfrm>
            <a:prstGeom prst="rect">
              <a:avLst/>
            </a:prstGeom>
          </p:spPr>
        </p:pic>
        <p:sp>
          <p:nvSpPr>
            <p:cNvPr id="45" name="object 79">
              <a:extLst>
                <a:ext uri="{FF2B5EF4-FFF2-40B4-BE49-F238E27FC236}">
                  <a16:creationId xmlns:a16="http://schemas.microsoft.com/office/drawing/2014/main" id="{09CF43ED-A3A6-936D-C50C-12F1E05E36FB}"/>
                </a:ext>
              </a:extLst>
            </p:cNvPr>
            <p:cNvSpPr txBox="1"/>
            <p:nvPr/>
          </p:nvSpPr>
          <p:spPr>
            <a:xfrm>
              <a:off x="1675676" y="3456179"/>
              <a:ext cx="2094126" cy="1635862"/>
            </a:xfrm>
            <a:prstGeom prst="rect">
              <a:avLst/>
            </a:prstGeom>
          </p:spPr>
          <p:txBody>
            <a:bodyPr vert="horz" wrap="square" lIns="0" tIns="11783" rIns="0" bIns="0" rtlCol="0">
              <a:spAutoFit/>
            </a:bodyPr>
            <a:lstStyle/>
            <a:p>
              <a:pPr marL="11783" algn="ctr">
                <a:spcBef>
                  <a:spcPts val="93"/>
                </a:spcBef>
              </a:pPr>
              <a:r>
                <a:rPr lang="pl-PL" sz="2800" spc="-14" dirty="0">
                  <a:latin typeface="Gilroy ExtraBold" panose="00000900000000000000" pitchFamily="50" charset="-18"/>
                  <a:cs typeface="Gilroy Light"/>
                </a:rPr>
                <a:t>1</a:t>
              </a:r>
            </a:p>
          </p:txBody>
        </p:sp>
      </p:grpSp>
      <p:grpSp>
        <p:nvGrpSpPr>
          <p:cNvPr id="46" name="Grupa 45">
            <a:extLst>
              <a:ext uri="{FF2B5EF4-FFF2-40B4-BE49-F238E27FC236}">
                <a16:creationId xmlns:a16="http://schemas.microsoft.com/office/drawing/2014/main" id="{B9885C2E-B66C-E760-FE5D-0B7E52A9011F}"/>
              </a:ext>
            </a:extLst>
          </p:cNvPr>
          <p:cNvGrpSpPr/>
          <p:nvPr/>
        </p:nvGrpSpPr>
        <p:grpSpPr>
          <a:xfrm>
            <a:off x="12370085" y="1584083"/>
            <a:ext cx="1077660" cy="1077660"/>
            <a:chOff x="769870" y="2274543"/>
            <a:chExt cx="3981397" cy="3981397"/>
          </a:xfrm>
        </p:grpSpPr>
        <p:sp>
          <p:nvSpPr>
            <p:cNvPr id="47" name="Owal 46">
              <a:extLst>
                <a:ext uri="{FF2B5EF4-FFF2-40B4-BE49-F238E27FC236}">
                  <a16:creationId xmlns:a16="http://schemas.microsoft.com/office/drawing/2014/main" id="{0D9E951C-37C7-7946-94EC-F8687647017E}"/>
                </a:ext>
              </a:extLst>
            </p:cNvPr>
            <p:cNvSpPr/>
            <p:nvPr/>
          </p:nvSpPr>
          <p:spPr>
            <a:xfrm>
              <a:off x="1116142" y="2629703"/>
              <a:ext cx="3273361" cy="3273361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pic>
          <p:nvPicPr>
            <p:cNvPr id="48" name="Obraz 47">
              <a:extLst>
                <a:ext uri="{FF2B5EF4-FFF2-40B4-BE49-F238E27FC236}">
                  <a16:creationId xmlns:a16="http://schemas.microsoft.com/office/drawing/2014/main" id="{9CDF6869-20D6-A649-4ED7-8FAADD4535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69870" y="2274543"/>
              <a:ext cx="3981397" cy="3981397"/>
            </a:xfrm>
            <a:prstGeom prst="rect">
              <a:avLst/>
            </a:prstGeom>
          </p:spPr>
        </p:pic>
        <p:sp>
          <p:nvSpPr>
            <p:cNvPr id="49" name="object 79">
              <a:extLst>
                <a:ext uri="{FF2B5EF4-FFF2-40B4-BE49-F238E27FC236}">
                  <a16:creationId xmlns:a16="http://schemas.microsoft.com/office/drawing/2014/main" id="{8EE159F9-A3AF-19F3-8E3E-DC9D29D69517}"/>
                </a:ext>
              </a:extLst>
            </p:cNvPr>
            <p:cNvSpPr txBox="1"/>
            <p:nvPr/>
          </p:nvSpPr>
          <p:spPr>
            <a:xfrm>
              <a:off x="1675676" y="3437411"/>
              <a:ext cx="2094126" cy="1635862"/>
            </a:xfrm>
            <a:prstGeom prst="rect">
              <a:avLst/>
            </a:prstGeom>
          </p:spPr>
          <p:txBody>
            <a:bodyPr vert="horz" wrap="square" lIns="0" tIns="11783" rIns="0" bIns="0" rtlCol="0">
              <a:spAutoFit/>
            </a:bodyPr>
            <a:lstStyle/>
            <a:p>
              <a:pPr marL="11783" algn="ctr">
                <a:spcBef>
                  <a:spcPts val="93"/>
                </a:spcBef>
              </a:pPr>
              <a:r>
                <a:rPr lang="pl-PL" sz="2800" spc="-14" dirty="0">
                  <a:latin typeface="Gilroy ExtraBold" panose="00000900000000000000" pitchFamily="50" charset="-18"/>
                  <a:cs typeface="Gilroy Light"/>
                </a:rPr>
                <a:t>4</a:t>
              </a:r>
            </a:p>
          </p:txBody>
        </p:sp>
      </p:grpSp>
      <p:grpSp>
        <p:nvGrpSpPr>
          <p:cNvPr id="50" name="Grupa 49">
            <a:extLst>
              <a:ext uri="{FF2B5EF4-FFF2-40B4-BE49-F238E27FC236}">
                <a16:creationId xmlns:a16="http://schemas.microsoft.com/office/drawing/2014/main" id="{95512C72-08CC-413A-EA5C-3C08387B11FA}"/>
              </a:ext>
            </a:extLst>
          </p:cNvPr>
          <p:cNvGrpSpPr/>
          <p:nvPr/>
        </p:nvGrpSpPr>
        <p:grpSpPr>
          <a:xfrm>
            <a:off x="12359845" y="5593123"/>
            <a:ext cx="1077660" cy="1077660"/>
            <a:chOff x="769870" y="2274541"/>
            <a:chExt cx="3981397" cy="3981396"/>
          </a:xfrm>
        </p:grpSpPr>
        <p:sp>
          <p:nvSpPr>
            <p:cNvPr id="51" name="Owal 50">
              <a:extLst>
                <a:ext uri="{FF2B5EF4-FFF2-40B4-BE49-F238E27FC236}">
                  <a16:creationId xmlns:a16="http://schemas.microsoft.com/office/drawing/2014/main" id="{C94F7423-0ABB-6E74-8C15-3B0174EA76CD}"/>
                </a:ext>
              </a:extLst>
            </p:cNvPr>
            <p:cNvSpPr/>
            <p:nvPr/>
          </p:nvSpPr>
          <p:spPr>
            <a:xfrm>
              <a:off x="1116142" y="2629703"/>
              <a:ext cx="3273361" cy="3273361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pic>
          <p:nvPicPr>
            <p:cNvPr id="53" name="Obraz 52">
              <a:extLst>
                <a:ext uri="{FF2B5EF4-FFF2-40B4-BE49-F238E27FC236}">
                  <a16:creationId xmlns:a16="http://schemas.microsoft.com/office/drawing/2014/main" id="{886B2634-0410-1809-DC2E-18D72FAFF1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69870" y="2274541"/>
              <a:ext cx="3981397" cy="3981396"/>
            </a:xfrm>
            <a:prstGeom prst="rect">
              <a:avLst/>
            </a:prstGeom>
          </p:spPr>
        </p:pic>
        <p:sp>
          <p:nvSpPr>
            <p:cNvPr id="54" name="object 79">
              <a:extLst>
                <a:ext uri="{FF2B5EF4-FFF2-40B4-BE49-F238E27FC236}">
                  <a16:creationId xmlns:a16="http://schemas.microsoft.com/office/drawing/2014/main" id="{8DB5EE98-151E-648A-82F0-9D5031F5C02B}"/>
                </a:ext>
              </a:extLst>
            </p:cNvPr>
            <p:cNvSpPr txBox="1"/>
            <p:nvPr/>
          </p:nvSpPr>
          <p:spPr>
            <a:xfrm>
              <a:off x="1675676" y="3437411"/>
              <a:ext cx="2094126" cy="1635862"/>
            </a:xfrm>
            <a:prstGeom prst="rect">
              <a:avLst/>
            </a:prstGeom>
          </p:spPr>
          <p:txBody>
            <a:bodyPr vert="horz" wrap="square" lIns="0" tIns="11783" rIns="0" bIns="0" rtlCol="0">
              <a:spAutoFit/>
            </a:bodyPr>
            <a:lstStyle/>
            <a:p>
              <a:pPr marL="11783" algn="ctr">
                <a:spcBef>
                  <a:spcPts val="93"/>
                </a:spcBef>
              </a:pPr>
              <a:r>
                <a:rPr lang="pl-PL" sz="2800" spc="-14" dirty="0">
                  <a:latin typeface="Gilroy ExtraBold" panose="00000900000000000000" pitchFamily="50" charset="-18"/>
                  <a:cs typeface="Gilroy Light"/>
                </a:rPr>
                <a:t>5</a:t>
              </a:r>
            </a:p>
          </p:txBody>
        </p:sp>
      </p:grpSp>
      <p:cxnSp>
        <p:nvCxnSpPr>
          <p:cNvPr id="73" name="Łącznik prosty 72">
            <a:extLst>
              <a:ext uri="{FF2B5EF4-FFF2-40B4-BE49-F238E27FC236}">
                <a16:creationId xmlns:a16="http://schemas.microsoft.com/office/drawing/2014/main" id="{6CE87440-AF40-72D1-7A9A-07D69A6788C2}"/>
              </a:ext>
            </a:extLst>
          </p:cNvPr>
          <p:cNvCxnSpPr>
            <a:cxnSpLocks/>
          </p:cNvCxnSpPr>
          <p:nvPr/>
        </p:nvCxnSpPr>
        <p:spPr>
          <a:xfrm flipH="1">
            <a:off x="5353113" y="5881760"/>
            <a:ext cx="424402" cy="663658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Google Shape;412;p20">
            <a:extLst>
              <a:ext uri="{FF2B5EF4-FFF2-40B4-BE49-F238E27FC236}">
                <a16:creationId xmlns:a16="http://schemas.microsoft.com/office/drawing/2014/main" id="{7BFD2836-79AF-094D-165B-ECD90ADF1485}"/>
              </a:ext>
            </a:extLst>
          </p:cNvPr>
          <p:cNvSpPr/>
          <p:nvPr/>
        </p:nvSpPr>
        <p:spPr>
          <a:xfrm>
            <a:off x="7756175" y="5110561"/>
            <a:ext cx="132380" cy="132340"/>
          </a:xfrm>
          <a:custGeom>
            <a:avLst/>
            <a:gdLst/>
            <a:ahLst/>
            <a:cxnLst/>
            <a:rect l="l" t="t" r="r" b="b"/>
            <a:pathLst>
              <a:path w="3359" h="3358" extrusionOk="0">
                <a:moveTo>
                  <a:pt x="1680" y="0"/>
                </a:moveTo>
                <a:cubicBezTo>
                  <a:pt x="751" y="0"/>
                  <a:pt x="1" y="750"/>
                  <a:pt x="1" y="1679"/>
                </a:cubicBezTo>
                <a:cubicBezTo>
                  <a:pt x="1" y="2608"/>
                  <a:pt x="751" y="3358"/>
                  <a:pt x="1680" y="3358"/>
                </a:cubicBezTo>
                <a:cubicBezTo>
                  <a:pt x="2608" y="3358"/>
                  <a:pt x="3358" y="2608"/>
                  <a:pt x="3358" y="1679"/>
                </a:cubicBezTo>
                <a:cubicBezTo>
                  <a:pt x="3358" y="750"/>
                  <a:pt x="2608" y="0"/>
                  <a:pt x="1680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412;p20">
            <a:extLst>
              <a:ext uri="{FF2B5EF4-FFF2-40B4-BE49-F238E27FC236}">
                <a16:creationId xmlns:a16="http://schemas.microsoft.com/office/drawing/2014/main" id="{821BAA37-2740-6B34-68D9-417EAA29575F}"/>
              </a:ext>
            </a:extLst>
          </p:cNvPr>
          <p:cNvSpPr/>
          <p:nvPr/>
        </p:nvSpPr>
        <p:spPr>
          <a:xfrm>
            <a:off x="8174517" y="4787878"/>
            <a:ext cx="132380" cy="132340"/>
          </a:xfrm>
          <a:custGeom>
            <a:avLst/>
            <a:gdLst/>
            <a:ahLst/>
            <a:cxnLst/>
            <a:rect l="l" t="t" r="r" b="b"/>
            <a:pathLst>
              <a:path w="3359" h="3358" extrusionOk="0">
                <a:moveTo>
                  <a:pt x="1680" y="0"/>
                </a:moveTo>
                <a:cubicBezTo>
                  <a:pt x="751" y="0"/>
                  <a:pt x="1" y="750"/>
                  <a:pt x="1" y="1679"/>
                </a:cubicBezTo>
                <a:cubicBezTo>
                  <a:pt x="1" y="2608"/>
                  <a:pt x="751" y="3358"/>
                  <a:pt x="1680" y="3358"/>
                </a:cubicBezTo>
                <a:cubicBezTo>
                  <a:pt x="2608" y="3358"/>
                  <a:pt x="3358" y="2608"/>
                  <a:pt x="3358" y="1679"/>
                </a:cubicBezTo>
                <a:cubicBezTo>
                  <a:pt x="3358" y="750"/>
                  <a:pt x="2608" y="0"/>
                  <a:pt x="1680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83" name="Łącznik prosty 82">
            <a:extLst>
              <a:ext uri="{FF2B5EF4-FFF2-40B4-BE49-F238E27FC236}">
                <a16:creationId xmlns:a16="http://schemas.microsoft.com/office/drawing/2014/main" id="{8B878DB4-6892-E739-AE21-CF0853132118}"/>
              </a:ext>
            </a:extLst>
          </p:cNvPr>
          <p:cNvCxnSpPr>
            <a:cxnSpLocks/>
          </p:cNvCxnSpPr>
          <p:nvPr/>
        </p:nvCxnSpPr>
        <p:spPr>
          <a:xfrm flipH="1">
            <a:off x="3947935" y="5525314"/>
            <a:ext cx="4581265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Łącznik prosty 84">
            <a:extLst>
              <a:ext uri="{FF2B5EF4-FFF2-40B4-BE49-F238E27FC236}">
                <a16:creationId xmlns:a16="http://schemas.microsoft.com/office/drawing/2014/main" id="{501D9B5E-C064-2873-56E4-C710C29E8F20}"/>
              </a:ext>
            </a:extLst>
          </p:cNvPr>
          <p:cNvCxnSpPr>
            <a:cxnSpLocks/>
          </p:cNvCxnSpPr>
          <p:nvPr/>
        </p:nvCxnSpPr>
        <p:spPr>
          <a:xfrm>
            <a:off x="3470247" y="4698331"/>
            <a:ext cx="477688" cy="82698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Google Shape;412;p20">
            <a:extLst>
              <a:ext uri="{FF2B5EF4-FFF2-40B4-BE49-F238E27FC236}">
                <a16:creationId xmlns:a16="http://schemas.microsoft.com/office/drawing/2014/main" id="{20925DA3-660F-F782-034D-4C5BDEF65E1F}"/>
              </a:ext>
            </a:extLst>
          </p:cNvPr>
          <p:cNvSpPr/>
          <p:nvPr/>
        </p:nvSpPr>
        <p:spPr>
          <a:xfrm>
            <a:off x="7649721" y="5030974"/>
            <a:ext cx="132380" cy="132340"/>
          </a:xfrm>
          <a:custGeom>
            <a:avLst/>
            <a:gdLst/>
            <a:ahLst/>
            <a:cxnLst/>
            <a:rect l="l" t="t" r="r" b="b"/>
            <a:pathLst>
              <a:path w="3359" h="3358" extrusionOk="0">
                <a:moveTo>
                  <a:pt x="1680" y="0"/>
                </a:moveTo>
                <a:cubicBezTo>
                  <a:pt x="751" y="0"/>
                  <a:pt x="1" y="750"/>
                  <a:pt x="1" y="1679"/>
                </a:cubicBezTo>
                <a:cubicBezTo>
                  <a:pt x="1" y="2608"/>
                  <a:pt x="751" y="3358"/>
                  <a:pt x="1680" y="3358"/>
                </a:cubicBezTo>
                <a:cubicBezTo>
                  <a:pt x="2608" y="3358"/>
                  <a:pt x="3358" y="2608"/>
                  <a:pt x="3358" y="1679"/>
                </a:cubicBezTo>
                <a:cubicBezTo>
                  <a:pt x="3358" y="750"/>
                  <a:pt x="2608" y="0"/>
                  <a:pt x="1680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91" name="Łącznik prosty 90">
            <a:extLst>
              <a:ext uri="{FF2B5EF4-FFF2-40B4-BE49-F238E27FC236}">
                <a16:creationId xmlns:a16="http://schemas.microsoft.com/office/drawing/2014/main" id="{94E51078-C0F4-680F-DE3E-7EF85C53C107}"/>
              </a:ext>
            </a:extLst>
          </p:cNvPr>
          <p:cNvCxnSpPr>
            <a:cxnSpLocks/>
          </p:cNvCxnSpPr>
          <p:nvPr/>
        </p:nvCxnSpPr>
        <p:spPr>
          <a:xfrm>
            <a:off x="6533724" y="1893061"/>
            <a:ext cx="1701868" cy="2946308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Łącznik prosty 93">
            <a:extLst>
              <a:ext uri="{FF2B5EF4-FFF2-40B4-BE49-F238E27FC236}">
                <a16:creationId xmlns:a16="http://schemas.microsoft.com/office/drawing/2014/main" id="{2559AB23-BAFE-2AD1-3F6A-F3FAE67CA900}"/>
              </a:ext>
            </a:extLst>
          </p:cNvPr>
          <p:cNvCxnSpPr>
            <a:cxnSpLocks/>
          </p:cNvCxnSpPr>
          <p:nvPr/>
        </p:nvCxnSpPr>
        <p:spPr>
          <a:xfrm flipH="1">
            <a:off x="3621946" y="1898841"/>
            <a:ext cx="2905165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Łącznik prosty 160">
            <a:extLst>
              <a:ext uri="{FF2B5EF4-FFF2-40B4-BE49-F238E27FC236}">
                <a16:creationId xmlns:a16="http://schemas.microsoft.com/office/drawing/2014/main" id="{E6A938B8-1549-BAF7-6DD2-6B611C693D4F}"/>
              </a:ext>
            </a:extLst>
          </p:cNvPr>
          <p:cNvCxnSpPr>
            <a:cxnSpLocks/>
          </p:cNvCxnSpPr>
          <p:nvPr/>
        </p:nvCxnSpPr>
        <p:spPr>
          <a:xfrm>
            <a:off x="6113351" y="2332606"/>
            <a:ext cx="1596873" cy="2764538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Łącznik prosty 161">
            <a:extLst>
              <a:ext uri="{FF2B5EF4-FFF2-40B4-BE49-F238E27FC236}">
                <a16:creationId xmlns:a16="http://schemas.microsoft.com/office/drawing/2014/main" id="{3041B18B-1692-D45C-10A2-60BF9555CCD2}"/>
              </a:ext>
            </a:extLst>
          </p:cNvPr>
          <p:cNvCxnSpPr>
            <a:cxnSpLocks/>
          </p:cNvCxnSpPr>
          <p:nvPr/>
        </p:nvCxnSpPr>
        <p:spPr>
          <a:xfrm flipH="1">
            <a:off x="3621946" y="2341626"/>
            <a:ext cx="2506185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Łącznik prosty 168">
            <a:extLst>
              <a:ext uri="{FF2B5EF4-FFF2-40B4-BE49-F238E27FC236}">
                <a16:creationId xmlns:a16="http://schemas.microsoft.com/office/drawing/2014/main" id="{21C96235-1C6E-031B-E9C1-A21EBE04623E}"/>
              </a:ext>
            </a:extLst>
          </p:cNvPr>
          <p:cNvCxnSpPr>
            <a:cxnSpLocks/>
          </p:cNvCxnSpPr>
          <p:nvPr/>
        </p:nvCxnSpPr>
        <p:spPr>
          <a:xfrm>
            <a:off x="6060026" y="2110159"/>
            <a:ext cx="1785568" cy="309121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Łącznik prosty 170">
            <a:extLst>
              <a:ext uri="{FF2B5EF4-FFF2-40B4-BE49-F238E27FC236}">
                <a16:creationId xmlns:a16="http://schemas.microsoft.com/office/drawing/2014/main" id="{B2447FBB-1BA8-95FF-9E67-0EEBE506C91F}"/>
              </a:ext>
            </a:extLst>
          </p:cNvPr>
          <p:cNvCxnSpPr>
            <a:cxnSpLocks/>
          </p:cNvCxnSpPr>
          <p:nvPr/>
        </p:nvCxnSpPr>
        <p:spPr>
          <a:xfrm flipH="1">
            <a:off x="3717066" y="2110159"/>
            <a:ext cx="234296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Obraz 54">
            <a:extLst>
              <a:ext uri="{FF2B5EF4-FFF2-40B4-BE49-F238E27FC236}">
                <a16:creationId xmlns:a16="http://schemas.microsoft.com/office/drawing/2014/main" id="{FCE51A2D-632A-00B7-99C8-B8ECC6041D40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017" y="6375400"/>
            <a:ext cx="2002399" cy="360281"/>
          </a:xfrm>
          <a:prstGeom prst="rect">
            <a:avLst/>
          </a:prstGeom>
        </p:spPr>
      </p:pic>
      <p:sp>
        <p:nvSpPr>
          <p:cNvPr id="56" name="Google Shape;412;p20">
            <a:extLst>
              <a:ext uri="{FF2B5EF4-FFF2-40B4-BE49-F238E27FC236}">
                <a16:creationId xmlns:a16="http://schemas.microsoft.com/office/drawing/2014/main" id="{416A000B-47C0-8031-783E-B97AE9386CA2}"/>
              </a:ext>
            </a:extLst>
          </p:cNvPr>
          <p:cNvSpPr/>
          <p:nvPr/>
        </p:nvSpPr>
        <p:spPr>
          <a:xfrm>
            <a:off x="5728497" y="5807728"/>
            <a:ext cx="132380" cy="132340"/>
          </a:xfrm>
          <a:custGeom>
            <a:avLst/>
            <a:gdLst/>
            <a:ahLst/>
            <a:cxnLst/>
            <a:rect l="l" t="t" r="r" b="b"/>
            <a:pathLst>
              <a:path w="3359" h="3358" extrusionOk="0">
                <a:moveTo>
                  <a:pt x="1680" y="0"/>
                </a:moveTo>
                <a:cubicBezTo>
                  <a:pt x="751" y="0"/>
                  <a:pt x="1" y="750"/>
                  <a:pt x="1" y="1679"/>
                </a:cubicBezTo>
                <a:cubicBezTo>
                  <a:pt x="1" y="2608"/>
                  <a:pt x="751" y="3358"/>
                  <a:pt x="1680" y="3358"/>
                </a:cubicBezTo>
                <a:cubicBezTo>
                  <a:pt x="2608" y="3358"/>
                  <a:pt x="3358" y="2608"/>
                  <a:pt x="3358" y="1679"/>
                </a:cubicBezTo>
                <a:cubicBezTo>
                  <a:pt x="3358" y="750"/>
                  <a:pt x="2608" y="0"/>
                  <a:pt x="1680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57" name="Łącznik prosty 56">
            <a:extLst>
              <a:ext uri="{FF2B5EF4-FFF2-40B4-BE49-F238E27FC236}">
                <a16:creationId xmlns:a16="http://schemas.microsoft.com/office/drawing/2014/main" id="{64BE97BD-584C-E0A6-F14B-3C880E9DD3E4}"/>
              </a:ext>
            </a:extLst>
          </p:cNvPr>
          <p:cNvCxnSpPr>
            <a:cxnSpLocks/>
          </p:cNvCxnSpPr>
          <p:nvPr/>
        </p:nvCxnSpPr>
        <p:spPr>
          <a:xfrm flipH="1">
            <a:off x="10065570" y="4118938"/>
            <a:ext cx="2961298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a 16">
            <a:extLst>
              <a:ext uri="{FF2B5EF4-FFF2-40B4-BE49-F238E27FC236}">
                <a16:creationId xmlns:a16="http://schemas.microsoft.com/office/drawing/2014/main" id="{47EFCEA6-0767-EB99-9363-09A009E33A00}"/>
              </a:ext>
            </a:extLst>
          </p:cNvPr>
          <p:cNvGrpSpPr/>
          <p:nvPr/>
        </p:nvGrpSpPr>
        <p:grpSpPr>
          <a:xfrm>
            <a:off x="12409122" y="3691192"/>
            <a:ext cx="1077660" cy="1077660"/>
            <a:chOff x="769870" y="2274543"/>
            <a:chExt cx="3981397" cy="3981397"/>
          </a:xfrm>
        </p:grpSpPr>
        <p:sp>
          <p:nvSpPr>
            <p:cNvPr id="23" name="Owal 22">
              <a:extLst>
                <a:ext uri="{FF2B5EF4-FFF2-40B4-BE49-F238E27FC236}">
                  <a16:creationId xmlns:a16="http://schemas.microsoft.com/office/drawing/2014/main" id="{005A996F-001A-8BAA-D479-1FB317A6105E}"/>
                </a:ext>
              </a:extLst>
            </p:cNvPr>
            <p:cNvSpPr/>
            <p:nvPr/>
          </p:nvSpPr>
          <p:spPr>
            <a:xfrm>
              <a:off x="1116142" y="2629703"/>
              <a:ext cx="3273361" cy="3273361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pic>
          <p:nvPicPr>
            <p:cNvPr id="25" name="Obraz 24">
              <a:extLst>
                <a:ext uri="{FF2B5EF4-FFF2-40B4-BE49-F238E27FC236}">
                  <a16:creationId xmlns:a16="http://schemas.microsoft.com/office/drawing/2014/main" id="{3A50DDA4-C871-C30B-7F39-7D581B936A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69870" y="2274543"/>
              <a:ext cx="3981397" cy="3981397"/>
            </a:xfrm>
            <a:prstGeom prst="rect">
              <a:avLst/>
            </a:prstGeom>
          </p:spPr>
        </p:pic>
        <p:sp>
          <p:nvSpPr>
            <p:cNvPr id="26" name="object 79">
              <a:extLst>
                <a:ext uri="{FF2B5EF4-FFF2-40B4-BE49-F238E27FC236}">
                  <a16:creationId xmlns:a16="http://schemas.microsoft.com/office/drawing/2014/main" id="{B375A68B-F10C-53DE-8613-81D2F8E21274}"/>
                </a:ext>
              </a:extLst>
            </p:cNvPr>
            <p:cNvSpPr txBox="1"/>
            <p:nvPr/>
          </p:nvSpPr>
          <p:spPr>
            <a:xfrm>
              <a:off x="1675676" y="3437411"/>
              <a:ext cx="2094126" cy="1635862"/>
            </a:xfrm>
            <a:prstGeom prst="rect">
              <a:avLst/>
            </a:prstGeom>
          </p:spPr>
          <p:txBody>
            <a:bodyPr vert="horz" wrap="square" lIns="0" tIns="11783" rIns="0" bIns="0" rtlCol="0">
              <a:spAutoFit/>
            </a:bodyPr>
            <a:lstStyle/>
            <a:p>
              <a:pPr marL="11783" algn="ctr">
                <a:spcBef>
                  <a:spcPts val="93"/>
                </a:spcBef>
              </a:pPr>
              <a:r>
                <a:rPr lang="pl-PL" sz="2800" spc="-14" dirty="0">
                  <a:latin typeface="Gilroy ExtraBold" panose="00000900000000000000" pitchFamily="50" charset="-18"/>
                  <a:cs typeface="Gilroy Light"/>
                </a:rPr>
                <a:t>6</a:t>
              </a:r>
            </a:p>
          </p:txBody>
        </p:sp>
      </p:grpSp>
      <p:cxnSp>
        <p:nvCxnSpPr>
          <p:cNvPr id="62" name="Łącznik prosty 61">
            <a:extLst>
              <a:ext uri="{FF2B5EF4-FFF2-40B4-BE49-F238E27FC236}">
                <a16:creationId xmlns:a16="http://schemas.microsoft.com/office/drawing/2014/main" id="{87029AC2-45D9-2E15-97C9-73B14603CBE7}"/>
              </a:ext>
            </a:extLst>
          </p:cNvPr>
          <p:cNvCxnSpPr>
            <a:cxnSpLocks/>
          </p:cNvCxnSpPr>
          <p:nvPr/>
        </p:nvCxnSpPr>
        <p:spPr>
          <a:xfrm>
            <a:off x="9103305" y="5731424"/>
            <a:ext cx="1118351" cy="39785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Google Shape;412;p20">
            <a:extLst>
              <a:ext uri="{FF2B5EF4-FFF2-40B4-BE49-F238E27FC236}">
                <a16:creationId xmlns:a16="http://schemas.microsoft.com/office/drawing/2014/main" id="{903514B6-381F-C988-507A-5E9F12F66AD9}"/>
              </a:ext>
            </a:extLst>
          </p:cNvPr>
          <p:cNvSpPr/>
          <p:nvPr/>
        </p:nvSpPr>
        <p:spPr>
          <a:xfrm>
            <a:off x="6047161" y="5949471"/>
            <a:ext cx="132380" cy="132340"/>
          </a:xfrm>
          <a:custGeom>
            <a:avLst/>
            <a:gdLst/>
            <a:ahLst/>
            <a:cxnLst/>
            <a:rect l="l" t="t" r="r" b="b"/>
            <a:pathLst>
              <a:path w="3359" h="3358" extrusionOk="0">
                <a:moveTo>
                  <a:pt x="1680" y="0"/>
                </a:moveTo>
                <a:cubicBezTo>
                  <a:pt x="751" y="0"/>
                  <a:pt x="1" y="750"/>
                  <a:pt x="1" y="1679"/>
                </a:cubicBezTo>
                <a:cubicBezTo>
                  <a:pt x="1" y="2608"/>
                  <a:pt x="751" y="3358"/>
                  <a:pt x="1680" y="3358"/>
                </a:cubicBezTo>
                <a:cubicBezTo>
                  <a:pt x="2608" y="3358"/>
                  <a:pt x="3358" y="2608"/>
                  <a:pt x="3358" y="1679"/>
                </a:cubicBezTo>
                <a:cubicBezTo>
                  <a:pt x="3358" y="750"/>
                  <a:pt x="2608" y="0"/>
                  <a:pt x="1680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225" name="Łącznik prosty 224">
            <a:extLst>
              <a:ext uri="{FF2B5EF4-FFF2-40B4-BE49-F238E27FC236}">
                <a16:creationId xmlns:a16="http://schemas.microsoft.com/office/drawing/2014/main" id="{55E461E0-F3B5-D024-B47F-8F967F5B8A63}"/>
              </a:ext>
            </a:extLst>
          </p:cNvPr>
          <p:cNvCxnSpPr>
            <a:cxnSpLocks/>
          </p:cNvCxnSpPr>
          <p:nvPr/>
        </p:nvCxnSpPr>
        <p:spPr>
          <a:xfrm flipH="1">
            <a:off x="6109780" y="2015707"/>
            <a:ext cx="2940877" cy="3999934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Łącznik prosty 230">
            <a:extLst>
              <a:ext uri="{FF2B5EF4-FFF2-40B4-BE49-F238E27FC236}">
                <a16:creationId xmlns:a16="http://schemas.microsoft.com/office/drawing/2014/main" id="{AC80CC00-D6DC-3CEB-8203-FF8B37B76403}"/>
              </a:ext>
            </a:extLst>
          </p:cNvPr>
          <p:cNvCxnSpPr>
            <a:cxnSpLocks/>
          </p:cNvCxnSpPr>
          <p:nvPr/>
        </p:nvCxnSpPr>
        <p:spPr>
          <a:xfrm flipH="1">
            <a:off x="9025535" y="2015707"/>
            <a:ext cx="3428037" cy="747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1383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Dowolny kształt: kształt 96">
            <a:extLst>
              <a:ext uri="{FF2B5EF4-FFF2-40B4-BE49-F238E27FC236}">
                <a16:creationId xmlns:a16="http://schemas.microsoft.com/office/drawing/2014/main" id="{F0919365-3969-7261-041D-FEE14BD6E2A6}"/>
              </a:ext>
            </a:extLst>
          </p:cNvPr>
          <p:cNvSpPr>
            <a:spLocks/>
          </p:cNvSpPr>
          <p:nvPr/>
        </p:nvSpPr>
        <p:spPr>
          <a:xfrm>
            <a:off x="5621321" y="6443669"/>
            <a:ext cx="9977434" cy="1134733"/>
          </a:xfrm>
          <a:custGeom>
            <a:avLst/>
            <a:gdLst>
              <a:gd name="connsiteX0" fmla="*/ 1760483 w 5507421"/>
              <a:gd name="connsiteY0" fmla="*/ 0 h 6516414"/>
              <a:gd name="connsiteX1" fmla="*/ 0 w 5507421"/>
              <a:gd name="connsiteY1" fmla="*/ 6516414 h 6516414"/>
              <a:gd name="connsiteX2" fmla="*/ 3783724 w 5507421"/>
              <a:gd name="connsiteY2" fmla="*/ 6516414 h 6516414"/>
              <a:gd name="connsiteX3" fmla="*/ 5507421 w 5507421"/>
              <a:gd name="connsiteY3" fmla="*/ 47297 h 6516414"/>
              <a:gd name="connsiteX4" fmla="*/ 1760483 w 5507421"/>
              <a:gd name="connsiteY4" fmla="*/ 0 h 6516414"/>
              <a:gd name="connsiteX0" fmla="*/ 1735770 w 5507421"/>
              <a:gd name="connsiteY0" fmla="*/ 14487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735770 w 5507421"/>
              <a:gd name="connsiteY4" fmla="*/ 14487 h 6469117"/>
              <a:gd name="connsiteX0" fmla="*/ 1741948 w 5507421"/>
              <a:gd name="connsiteY0" fmla="*/ 8308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741948 w 5507421"/>
              <a:gd name="connsiteY4" fmla="*/ 8308 h 6469117"/>
              <a:gd name="connsiteX0" fmla="*/ 1605546 w 5507421"/>
              <a:gd name="connsiteY0" fmla="*/ 493293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605546 w 5507421"/>
              <a:gd name="connsiteY4" fmla="*/ 493293 h 6469117"/>
              <a:gd name="connsiteX0" fmla="*/ 1605546 w 5360915"/>
              <a:gd name="connsiteY0" fmla="*/ 0 h 5975824"/>
              <a:gd name="connsiteX1" fmla="*/ 0 w 5360915"/>
              <a:gd name="connsiteY1" fmla="*/ 5975824 h 5975824"/>
              <a:gd name="connsiteX2" fmla="*/ 3783724 w 5360915"/>
              <a:gd name="connsiteY2" fmla="*/ 5975824 h 5975824"/>
              <a:gd name="connsiteX3" fmla="*/ 5360915 w 5360915"/>
              <a:gd name="connsiteY3" fmla="*/ 11901 h 5975824"/>
              <a:gd name="connsiteX4" fmla="*/ 1605546 w 5360915"/>
              <a:gd name="connsiteY4" fmla="*/ 0 h 5975824"/>
              <a:gd name="connsiteX0" fmla="*/ 857859 w 5360915"/>
              <a:gd name="connsiteY0" fmla="*/ 0 h 5970772"/>
              <a:gd name="connsiteX1" fmla="*/ 0 w 5360915"/>
              <a:gd name="connsiteY1" fmla="*/ 5970772 h 5970772"/>
              <a:gd name="connsiteX2" fmla="*/ 3783724 w 5360915"/>
              <a:gd name="connsiteY2" fmla="*/ 5970772 h 5970772"/>
              <a:gd name="connsiteX3" fmla="*/ 5360915 w 5360915"/>
              <a:gd name="connsiteY3" fmla="*/ 6849 h 5970772"/>
              <a:gd name="connsiteX4" fmla="*/ 857859 w 5360915"/>
              <a:gd name="connsiteY4" fmla="*/ 0 h 5970772"/>
              <a:gd name="connsiteX0" fmla="*/ 1600493 w 6103549"/>
              <a:gd name="connsiteY0" fmla="*/ 0 h 5975824"/>
              <a:gd name="connsiteX1" fmla="*/ 0 w 6103549"/>
              <a:gd name="connsiteY1" fmla="*/ 5975824 h 5975824"/>
              <a:gd name="connsiteX2" fmla="*/ 4526358 w 6103549"/>
              <a:gd name="connsiteY2" fmla="*/ 5970772 h 5975824"/>
              <a:gd name="connsiteX3" fmla="*/ 6103549 w 6103549"/>
              <a:gd name="connsiteY3" fmla="*/ 6849 h 5975824"/>
              <a:gd name="connsiteX4" fmla="*/ 1600493 w 6103549"/>
              <a:gd name="connsiteY4" fmla="*/ 0 h 5975824"/>
              <a:gd name="connsiteX0" fmla="*/ 1600493 w 6103549"/>
              <a:gd name="connsiteY0" fmla="*/ 0 h 5975824"/>
              <a:gd name="connsiteX1" fmla="*/ 0 w 6103549"/>
              <a:gd name="connsiteY1" fmla="*/ 5975824 h 5975824"/>
              <a:gd name="connsiteX2" fmla="*/ 5334667 w 6103549"/>
              <a:gd name="connsiteY2" fmla="*/ 5975824 h 5975824"/>
              <a:gd name="connsiteX3" fmla="*/ 6103549 w 6103549"/>
              <a:gd name="connsiteY3" fmla="*/ 6849 h 5975824"/>
              <a:gd name="connsiteX4" fmla="*/ 1600493 w 6103549"/>
              <a:gd name="connsiteY4" fmla="*/ 0 h 5975824"/>
              <a:gd name="connsiteX0" fmla="*/ 1600493 w 6947222"/>
              <a:gd name="connsiteY0" fmla="*/ 0 h 5975824"/>
              <a:gd name="connsiteX1" fmla="*/ 0 w 6947222"/>
              <a:gd name="connsiteY1" fmla="*/ 5975824 h 5975824"/>
              <a:gd name="connsiteX2" fmla="*/ 5334667 w 6947222"/>
              <a:gd name="connsiteY2" fmla="*/ 5975824 h 5975824"/>
              <a:gd name="connsiteX3" fmla="*/ 6947222 w 6947222"/>
              <a:gd name="connsiteY3" fmla="*/ 1797 h 5975824"/>
              <a:gd name="connsiteX4" fmla="*/ 1600493 w 6947222"/>
              <a:gd name="connsiteY4" fmla="*/ 0 h 5975824"/>
              <a:gd name="connsiteX0" fmla="*/ 1600493 w 7017561"/>
              <a:gd name="connsiteY0" fmla="*/ 0 h 5975824"/>
              <a:gd name="connsiteX1" fmla="*/ 0 w 7017561"/>
              <a:gd name="connsiteY1" fmla="*/ 5975824 h 5975824"/>
              <a:gd name="connsiteX2" fmla="*/ 5334667 w 7017561"/>
              <a:gd name="connsiteY2" fmla="*/ 5975824 h 5975824"/>
              <a:gd name="connsiteX3" fmla="*/ 7017561 w 7017561"/>
              <a:gd name="connsiteY3" fmla="*/ 1797 h 5975824"/>
              <a:gd name="connsiteX4" fmla="*/ 1600493 w 7017561"/>
              <a:gd name="connsiteY4" fmla="*/ 0 h 5975824"/>
              <a:gd name="connsiteX0" fmla="*/ 1600493 w 7017561"/>
              <a:gd name="connsiteY0" fmla="*/ 0 h 5975824"/>
              <a:gd name="connsiteX1" fmla="*/ 0 w 7017561"/>
              <a:gd name="connsiteY1" fmla="*/ 5975824 h 5975824"/>
              <a:gd name="connsiteX2" fmla="*/ 7007718 w 7017561"/>
              <a:gd name="connsiteY2" fmla="*/ 5975824 h 5975824"/>
              <a:gd name="connsiteX3" fmla="*/ 7017561 w 7017561"/>
              <a:gd name="connsiteY3" fmla="*/ 1797 h 5975824"/>
              <a:gd name="connsiteX4" fmla="*/ 1600493 w 7017561"/>
              <a:gd name="connsiteY4" fmla="*/ 0 h 5975824"/>
              <a:gd name="connsiteX0" fmla="*/ 1600493 w 7007718"/>
              <a:gd name="connsiteY0" fmla="*/ 0 h 5975824"/>
              <a:gd name="connsiteX1" fmla="*/ 0 w 7007718"/>
              <a:gd name="connsiteY1" fmla="*/ 5975824 h 5975824"/>
              <a:gd name="connsiteX2" fmla="*/ 7007718 w 7007718"/>
              <a:gd name="connsiteY2" fmla="*/ 5975824 h 5975824"/>
              <a:gd name="connsiteX3" fmla="*/ 6309152 w 7007718"/>
              <a:gd name="connsiteY3" fmla="*/ 21894 h 5975824"/>
              <a:gd name="connsiteX4" fmla="*/ 1600493 w 7007718"/>
              <a:gd name="connsiteY4" fmla="*/ 0 h 5975824"/>
              <a:gd name="connsiteX0" fmla="*/ 1600493 w 6309152"/>
              <a:gd name="connsiteY0" fmla="*/ 0 h 5975824"/>
              <a:gd name="connsiteX1" fmla="*/ 0 w 6309152"/>
              <a:gd name="connsiteY1" fmla="*/ 5975824 h 5975824"/>
              <a:gd name="connsiteX2" fmla="*/ 6294285 w 6309152"/>
              <a:gd name="connsiteY2" fmla="*/ 5955727 h 5975824"/>
              <a:gd name="connsiteX3" fmla="*/ 6309152 w 6309152"/>
              <a:gd name="connsiteY3" fmla="*/ 21894 h 5975824"/>
              <a:gd name="connsiteX4" fmla="*/ 1600493 w 6309152"/>
              <a:gd name="connsiteY4" fmla="*/ 0 h 5975824"/>
              <a:gd name="connsiteX0" fmla="*/ 1600493 w 6309152"/>
              <a:gd name="connsiteY0" fmla="*/ 0 h 5985872"/>
              <a:gd name="connsiteX1" fmla="*/ 0 w 6309152"/>
              <a:gd name="connsiteY1" fmla="*/ 5975824 h 5985872"/>
              <a:gd name="connsiteX2" fmla="*/ 6289261 w 6309152"/>
              <a:gd name="connsiteY2" fmla="*/ 5985872 h 5985872"/>
              <a:gd name="connsiteX3" fmla="*/ 6309152 w 6309152"/>
              <a:gd name="connsiteY3" fmla="*/ 21894 h 5985872"/>
              <a:gd name="connsiteX4" fmla="*/ 1600493 w 6309152"/>
              <a:gd name="connsiteY4" fmla="*/ 0 h 5985872"/>
              <a:gd name="connsiteX0" fmla="*/ 1600493 w 6309152"/>
              <a:gd name="connsiteY0" fmla="*/ 0 h 5975824"/>
              <a:gd name="connsiteX1" fmla="*/ 0 w 6309152"/>
              <a:gd name="connsiteY1" fmla="*/ 5975824 h 5975824"/>
              <a:gd name="connsiteX2" fmla="*/ 6289261 w 6309152"/>
              <a:gd name="connsiteY2" fmla="*/ 5975824 h 5975824"/>
              <a:gd name="connsiteX3" fmla="*/ 6309152 w 6309152"/>
              <a:gd name="connsiteY3" fmla="*/ 21894 h 5975824"/>
              <a:gd name="connsiteX4" fmla="*/ 1600493 w 6309152"/>
              <a:gd name="connsiteY4" fmla="*/ 0 h 5975824"/>
              <a:gd name="connsiteX0" fmla="*/ 1600493 w 6304127"/>
              <a:gd name="connsiteY0" fmla="*/ 8251 h 5984075"/>
              <a:gd name="connsiteX1" fmla="*/ 0 w 6304127"/>
              <a:gd name="connsiteY1" fmla="*/ 5984075 h 5984075"/>
              <a:gd name="connsiteX2" fmla="*/ 6289261 w 6304127"/>
              <a:gd name="connsiteY2" fmla="*/ 5984075 h 5984075"/>
              <a:gd name="connsiteX3" fmla="*/ 6304127 w 6304127"/>
              <a:gd name="connsiteY3" fmla="*/ 0 h 5984075"/>
              <a:gd name="connsiteX4" fmla="*/ 1600493 w 6304127"/>
              <a:gd name="connsiteY4" fmla="*/ 8251 h 5984075"/>
              <a:gd name="connsiteX0" fmla="*/ 762784 w 5466418"/>
              <a:gd name="connsiteY0" fmla="*/ 8251 h 5984075"/>
              <a:gd name="connsiteX1" fmla="*/ 0 w 5466418"/>
              <a:gd name="connsiteY1" fmla="*/ 2857417 h 5984075"/>
              <a:gd name="connsiteX2" fmla="*/ 5451552 w 5466418"/>
              <a:gd name="connsiteY2" fmla="*/ 5984075 h 5984075"/>
              <a:gd name="connsiteX3" fmla="*/ 5466418 w 5466418"/>
              <a:gd name="connsiteY3" fmla="*/ 0 h 5984075"/>
              <a:gd name="connsiteX4" fmla="*/ 762784 w 5466418"/>
              <a:gd name="connsiteY4" fmla="*/ 8251 h 5984075"/>
              <a:gd name="connsiteX0" fmla="*/ 762784 w 5466418"/>
              <a:gd name="connsiteY0" fmla="*/ 8251 h 2857417"/>
              <a:gd name="connsiteX1" fmla="*/ 0 w 5466418"/>
              <a:gd name="connsiteY1" fmla="*/ 2857417 h 2857417"/>
              <a:gd name="connsiteX2" fmla="*/ 5457451 w 5466418"/>
              <a:gd name="connsiteY2" fmla="*/ 2845619 h 2857417"/>
              <a:gd name="connsiteX3" fmla="*/ 5466418 w 5466418"/>
              <a:gd name="connsiteY3" fmla="*/ 0 h 2857417"/>
              <a:gd name="connsiteX4" fmla="*/ 762784 w 5466418"/>
              <a:gd name="connsiteY4" fmla="*/ 8251 h 2857417"/>
              <a:gd name="connsiteX0" fmla="*/ 509112 w 5212746"/>
              <a:gd name="connsiteY0" fmla="*/ 8251 h 2845619"/>
              <a:gd name="connsiteX1" fmla="*/ 0 w 5212746"/>
              <a:gd name="connsiteY1" fmla="*/ 1919419 h 2845619"/>
              <a:gd name="connsiteX2" fmla="*/ 5203779 w 5212746"/>
              <a:gd name="connsiteY2" fmla="*/ 2845619 h 2845619"/>
              <a:gd name="connsiteX3" fmla="*/ 5212746 w 5212746"/>
              <a:gd name="connsiteY3" fmla="*/ 0 h 2845619"/>
              <a:gd name="connsiteX4" fmla="*/ 509112 w 5212746"/>
              <a:gd name="connsiteY4" fmla="*/ 8251 h 2845619"/>
              <a:gd name="connsiteX0" fmla="*/ 509112 w 5212746"/>
              <a:gd name="connsiteY0" fmla="*/ 8251 h 1919419"/>
              <a:gd name="connsiteX1" fmla="*/ 0 w 5212746"/>
              <a:gd name="connsiteY1" fmla="*/ 1919419 h 1919419"/>
              <a:gd name="connsiteX2" fmla="*/ 5197880 w 5212746"/>
              <a:gd name="connsiteY2" fmla="*/ 1901722 h 1919419"/>
              <a:gd name="connsiteX3" fmla="*/ 5212746 w 5212746"/>
              <a:gd name="connsiteY3" fmla="*/ 0 h 1919419"/>
              <a:gd name="connsiteX4" fmla="*/ 509112 w 5212746"/>
              <a:gd name="connsiteY4" fmla="*/ 8251 h 1919419"/>
              <a:gd name="connsiteX0" fmla="*/ 509112 w 5212746"/>
              <a:gd name="connsiteY0" fmla="*/ 8251 h 1919419"/>
              <a:gd name="connsiteX1" fmla="*/ 0 w 5212746"/>
              <a:gd name="connsiteY1" fmla="*/ 1919419 h 1919419"/>
              <a:gd name="connsiteX2" fmla="*/ 5197880 w 5212746"/>
              <a:gd name="connsiteY2" fmla="*/ 1913521 h 1919419"/>
              <a:gd name="connsiteX3" fmla="*/ 5212746 w 5212746"/>
              <a:gd name="connsiteY3" fmla="*/ 0 h 1919419"/>
              <a:gd name="connsiteX4" fmla="*/ 509112 w 5212746"/>
              <a:gd name="connsiteY4" fmla="*/ 8251 h 1919419"/>
              <a:gd name="connsiteX0" fmla="*/ 302635 w 5006269"/>
              <a:gd name="connsiteY0" fmla="*/ 8251 h 1913521"/>
              <a:gd name="connsiteX1" fmla="*/ 0 w 5006269"/>
              <a:gd name="connsiteY1" fmla="*/ 1128906 h 1913521"/>
              <a:gd name="connsiteX2" fmla="*/ 4991403 w 5006269"/>
              <a:gd name="connsiteY2" fmla="*/ 1913521 h 1913521"/>
              <a:gd name="connsiteX3" fmla="*/ 5006269 w 5006269"/>
              <a:gd name="connsiteY3" fmla="*/ 0 h 1913521"/>
              <a:gd name="connsiteX4" fmla="*/ 302635 w 5006269"/>
              <a:gd name="connsiteY4" fmla="*/ 8251 h 1913521"/>
              <a:gd name="connsiteX0" fmla="*/ 302635 w 5006269"/>
              <a:gd name="connsiteY0" fmla="*/ 8251 h 1128906"/>
              <a:gd name="connsiteX1" fmla="*/ 0 w 5006269"/>
              <a:gd name="connsiteY1" fmla="*/ 1128906 h 1128906"/>
              <a:gd name="connsiteX2" fmla="*/ 5003202 w 5006269"/>
              <a:gd name="connsiteY2" fmla="*/ 1117108 h 1128906"/>
              <a:gd name="connsiteX3" fmla="*/ 5006269 w 5006269"/>
              <a:gd name="connsiteY3" fmla="*/ 0 h 1128906"/>
              <a:gd name="connsiteX4" fmla="*/ 302635 w 5006269"/>
              <a:gd name="connsiteY4" fmla="*/ 8251 h 1128906"/>
              <a:gd name="connsiteX0" fmla="*/ 302635 w 5003220"/>
              <a:gd name="connsiteY0" fmla="*/ 8251 h 1128906"/>
              <a:gd name="connsiteX1" fmla="*/ 0 w 5003220"/>
              <a:gd name="connsiteY1" fmla="*/ 1128906 h 1128906"/>
              <a:gd name="connsiteX2" fmla="*/ 5003202 w 5003220"/>
              <a:gd name="connsiteY2" fmla="*/ 1117108 h 1128906"/>
              <a:gd name="connsiteX3" fmla="*/ 4025481 w 5003220"/>
              <a:gd name="connsiteY3" fmla="*/ 0 h 1128906"/>
              <a:gd name="connsiteX4" fmla="*/ 302635 w 5003220"/>
              <a:gd name="connsiteY4" fmla="*/ 8251 h 1128906"/>
              <a:gd name="connsiteX0" fmla="*/ 302635 w 4025482"/>
              <a:gd name="connsiteY0" fmla="*/ 8251 h 1128906"/>
              <a:gd name="connsiteX1" fmla="*/ 0 w 4025482"/>
              <a:gd name="connsiteY1" fmla="*/ 1128906 h 1128906"/>
              <a:gd name="connsiteX2" fmla="*/ 4022414 w 4025482"/>
              <a:gd name="connsiteY2" fmla="*/ 1123646 h 1128906"/>
              <a:gd name="connsiteX3" fmla="*/ 4025481 w 4025482"/>
              <a:gd name="connsiteY3" fmla="*/ 0 h 1128906"/>
              <a:gd name="connsiteX4" fmla="*/ 302635 w 4025482"/>
              <a:gd name="connsiteY4" fmla="*/ 8251 h 1128906"/>
              <a:gd name="connsiteX0" fmla="*/ 446485 w 4025481"/>
              <a:gd name="connsiteY0" fmla="*/ 0 h 1689512"/>
              <a:gd name="connsiteX1" fmla="*/ 0 w 4025481"/>
              <a:gd name="connsiteY1" fmla="*/ 1689512 h 1689512"/>
              <a:gd name="connsiteX2" fmla="*/ 4022414 w 4025481"/>
              <a:gd name="connsiteY2" fmla="*/ 1684252 h 1689512"/>
              <a:gd name="connsiteX3" fmla="*/ 4025481 w 4025481"/>
              <a:gd name="connsiteY3" fmla="*/ 560606 h 1689512"/>
              <a:gd name="connsiteX4" fmla="*/ 446485 w 4025481"/>
              <a:gd name="connsiteY4" fmla="*/ 0 h 1689512"/>
              <a:gd name="connsiteX0" fmla="*/ 446485 w 4023534"/>
              <a:gd name="connsiteY0" fmla="*/ 27866 h 1717378"/>
              <a:gd name="connsiteX1" fmla="*/ 0 w 4023534"/>
              <a:gd name="connsiteY1" fmla="*/ 1717378 h 1717378"/>
              <a:gd name="connsiteX2" fmla="*/ 4022414 w 4023534"/>
              <a:gd name="connsiteY2" fmla="*/ 1712118 h 1717378"/>
              <a:gd name="connsiteX3" fmla="*/ 4018943 w 4023534"/>
              <a:gd name="connsiteY3" fmla="*/ 0 h 1717378"/>
              <a:gd name="connsiteX4" fmla="*/ 446485 w 4023534"/>
              <a:gd name="connsiteY4" fmla="*/ 27866 h 1717378"/>
              <a:gd name="connsiteX0" fmla="*/ 446485 w 4023534"/>
              <a:gd name="connsiteY0" fmla="*/ 1712 h 1717378"/>
              <a:gd name="connsiteX1" fmla="*/ 0 w 4023534"/>
              <a:gd name="connsiteY1" fmla="*/ 1717378 h 1717378"/>
              <a:gd name="connsiteX2" fmla="*/ 4022414 w 4023534"/>
              <a:gd name="connsiteY2" fmla="*/ 1712118 h 1717378"/>
              <a:gd name="connsiteX3" fmla="*/ 4018943 w 4023534"/>
              <a:gd name="connsiteY3" fmla="*/ 0 h 1717378"/>
              <a:gd name="connsiteX4" fmla="*/ 446485 w 4023534"/>
              <a:gd name="connsiteY4" fmla="*/ 1712 h 1717378"/>
              <a:gd name="connsiteX0" fmla="*/ 0 w 4047827"/>
              <a:gd name="connsiteY0" fmla="*/ 1712 h 1717378"/>
              <a:gd name="connsiteX1" fmla="*/ 24293 w 4047827"/>
              <a:gd name="connsiteY1" fmla="*/ 1717378 h 1717378"/>
              <a:gd name="connsiteX2" fmla="*/ 4046707 w 4047827"/>
              <a:gd name="connsiteY2" fmla="*/ 1712118 h 1717378"/>
              <a:gd name="connsiteX3" fmla="*/ 4043236 w 4047827"/>
              <a:gd name="connsiteY3" fmla="*/ 0 h 1717378"/>
              <a:gd name="connsiteX4" fmla="*/ 0 w 4047827"/>
              <a:gd name="connsiteY4" fmla="*/ 1712 h 1717378"/>
              <a:gd name="connsiteX0" fmla="*/ 439947 w 4487774"/>
              <a:gd name="connsiteY0" fmla="*/ 1712 h 1717378"/>
              <a:gd name="connsiteX1" fmla="*/ 0 w 4487774"/>
              <a:gd name="connsiteY1" fmla="*/ 1717378 h 1717378"/>
              <a:gd name="connsiteX2" fmla="*/ 4486654 w 4487774"/>
              <a:gd name="connsiteY2" fmla="*/ 1712118 h 1717378"/>
              <a:gd name="connsiteX3" fmla="*/ 4483183 w 4487774"/>
              <a:gd name="connsiteY3" fmla="*/ 0 h 1717378"/>
              <a:gd name="connsiteX4" fmla="*/ 439947 w 4487774"/>
              <a:gd name="connsiteY4" fmla="*/ 1712 h 1717378"/>
              <a:gd name="connsiteX0" fmla="*/ 439947 w 4493992"/>
              <a:gd name="connsiteY0" fmla="*/ 1712 h 1717378"/>
              <a:gd name="connsiteX1" fmla="*/ 0 w 4493992"/>
              <a:gd name="connsiteY1" fmla="*/ 1717378 h 1717378"/>
              <a:gd name="connsiteX2" fmla="*/ 4493194 w 4493992"/>
              <a:gd name="connsiteY2" fmla="*/ 1267493 h 1717378"/>
              <a:gd name="connsiteX3" fmla="*/ 4483183 w 4493992"/>
              <a:gd name="connsiteY3" fmla="*/ 0 h 1717378"/>
              <a:gd name="connsiteX4" fmla="*/ 439947 w 4493992"/>
              <a:gd name="connsiteY4" fmla="*/ 1712 h 1717378"/>
              <a:gd name="connsiteX0" fmla="*/ 322253 w 4376298"/>
              <a:gd name="connsiteY0" fmla="*/ 1712 h 1267493"/>
              <a:gd name="connsiteX1" fmla="*/ 0 w 4376298"/>
              <a:gd name="connsiteY1" fmla="*/ 1253139 h 1267493"/>
              <a:gd name="connsiteX2" fmla="*/ 4375500 w 4376298"/>
              <a:gd name="connsiteY2" fmla="*/ 1267493 h 1267493"/>
              <a:gd name="connsiteX3" fmla="*/ 4365489 w 4376298"/>
              <a:gd name="connsiteY3" fmla="*/ 0 h 1267493"/>
              <a:gd name="connsiteX4" fmla="*/ 322253 w 4376298"/>
              <a:gd name="connsiteY4" fmla="*/ 1712 h 1267493"/>
              <a:gd name="connsiteX0" fmla="*/ 322253 w 4376298"/>
              <a:gd name="connsiteY0" fmla="*/ 1712 h 1267493"/>
              <a:gd name="connsiteX1" fmla="*/ 0 w 4376298"/>
              <a:gd name="connsiteY1" fmla="*/ 1259678 h 1267493"/>
              <a:gd name="connsiteX2" fmla="*/ 4375500 w 4376298"/>
              <a:gd name="connsiteY2" fmla="*/ 1267493 h 1267493"/>
              <a:gd name="connsiteX3" fmla="*/ 4365489 w 4376298"/>
              <a:gd name="connsiteY3" fmla="*/ 0 h 1267493"/>
              <a:gd name="connsiteX4" fmla="*/ 322253 w 4376298"/>
              <a:gd name="connsiteY4" fmla="*/ 1712 h 1267493"/>
              <a:gd name="connsiteX0" fmla="*/ 322253 w 4376298"/>
              <a:gd name="connsiteY0" fmla="*/ 1712 h 1272754"/>
              <a:gd name="connsiteX1" fmla="*/ 0 w 4376298"/>
              <a:gd name="connsiteY1" fmla="*/ 1272754 h 1272754"/>
              <a:gd name="connsiteX2" fmla="*/ 4375500 w 4376298"/>
              <a:gd name="connsiteY2" fmla="*/ 1267493 h 1272754"/>
              <a:gd name="connsiteX3" fmla="*/ 4365489 w 4376298"/>
              <a:gd name="connsiteY3" fmla="*/ 0 h 1272754"/>
              <a:gd name="connsiteX4" fmla="*/ 322253 w 4376298"/>
              <a:gd name="connsiteY4" fmla="*/ 1712 h 1272754"/>
              <a:gd name="connsiteX0" fmla="*/ 322253 w 4371261"/>
              <a:gd name="connsiteY0" fmla="*/ 1712 h 1272754"/>
              <a:gd name="connsiteX1" fmla="*/ 0 w 4371261"/>
              <a:gd name="connsiteY1" fmla="*/ 1272754 h 1272754"/>
              <a:gd name="connsiteX2" fmla="*/ 4370221 w 4371261"/>
              <a:gd name="connsiteY2" fmla="*/ 1269253 h 1272754"/>
              <a:gd name="connsiteX3" fmla="*/ 4365489 w 4371261"/>
              <a:gd name="connsiteY3" fmla="*/ 0 h 1272754"/>
              <a:gd name="connsiteX4" fmla="*/ 322253 w 437126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32811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32811 w 4370221"/>
              <a:gd name="connsiteY4" fmla="*/ 1712 h 1272754"/>
              <a:gd name="connsiteX0" fmla="*/ 0 w 4384034"/>
              <a:gd name="connsiteY0" fmla="*/ 1712 h 1272754"/>
              <a:gd name="connsiteX1" fmla="*/ 13813 w 4384034"/>
              <a:gd name="connsiteY1" fmla="*/ 1272754 h 1272754"/>
              <a:gd name="connsiteX2" fmla="*/ 4384034 w 4384034"/>
              <a:gd name="connsiteY2" fmla="*/ 1269253 h 1272754"/>
              <a:gd name="connsiteX3" fmla="*/ 4379302 w 4384034"/>
              <a:gd name="connsiteY3" fmla="*/ 0 h 1272754"/>
              <a:gd name="connsiteX4" fmla="*/ 0 w 4384034"/>
              <a:gd name="connsiteY4" fmla="*/ 1712 h 1272754"/>
              <a:gd name="connsiteX0" fmla="*/ 316976 w 4701010"/>
              <a:gd name="connsiteY0" fmla="*/ 1712 h 1272754"/>
              <a:gd name="connsiteX1" fmla="*/ 0 w 4701010"/>
              <a:gd name="connsiteY1" fmla="*/ 1272754 h 1272754"/>
              <a:gd name="connsiteX2" fmla="*/ 4701010 w 4701010"/>
              <a:gd name="connsiteY2" fmla="*/ 1269253 h 1272754"/>
              <a:gd name="connsiteX3" fmla="*/ 4696278 w 4701010"/>
              <a:gd name="connsiteY3" fmla="*/ 0 h 1272754"/>
              <a:gd name="connsiteX4" fmla="*/ 316976 w 4701010"/>
              <a:gd name="connsiteY4" fmla="*/ 1712 h 1272754"/>
              <a:gd name="connsiteX0" fmla="*/ 343369 w 4727403"/>
              <a:gd name="connsiteY0" fmla="*/ 1712 h 1274514"/>
              <a:gd name="connsiteX1" fmla="*/ 0 w 4727403"/>
              <a:gd name="connsiteY1" fmla="*/ 1274514 h 1274514"/>
              <a:gd name="connsiteX2" fmla="*/ 4727403 w 4727403"/>
              <a:gd name="connsiteY2" fmla="*/ 1269253 h 1274514"/>
              <a:gd name="connsiteX3" fmla="*/ 4722671 w 4727403"/>
              <a:gd name="connsiteY3" fmla="*/ 0 h 1274514"/>
              <a:gd name="connsiteX4" fmla="*/ 343369 w 4727403"/>
              <a:gd name="connsiteY4" fmla="*/ 1712 h 1274514"/>
              <a:gd name="connsiteX0" fmla="*/ 343369 w 4730922"/>
              <a:gd name="connsiteY0" fmla="*/ 1712 h 2022324"/>
              <a:gd name="connsiteX1" fmla="*/ 0 w 4730922"/>
              <a:gd name="connsiteY1" fmla="*/ 1274514 h 2022324"/>
              <a:gd name="connsiteX2" fmla="*/ 4730922 w 4730922"/>
              <a:gd name="connsiteY2" fmla="*/ 2022324 h 2022324"/>
              <a:gd name="connsiteX3" fmla="*/ 4722671 w 4730922"/>
              <a:gd name="connsiteY3" fmla="*/ 0 h 2022324"/>
              <a:gd name="connsiteX4" fmla="*/ 343369 w 4730922"/>
              <a:gd name="connsiteY4" fmla="*/ 1712 h 2022324"/>
              <a:gd name="connsiteX0" fmla="*/ 550992 w 4938545"/>
              <a:gd name="connsiteY0" fmla="*/ 1712 h 2038142"/>
              <a:gd name="connsiteX1" fmla="*/ 0 w 4938545"/>
              <a:gd name="connsiteY1" fmla="*/ 2038142 h 2038142"/>
              <a:gd name="connsiteX2" fmla="*/ 4938545 w 4938545"/>
              <a:gd name="connsiteY2" fmla="*/ 2022324 h 2038142"/>
              <a:gd name="connsiteX3" fmla="*/ 4930294 w 4938545"/>
              <a:gd name="connsiteY3" fmla="*/ 0 h 2038142"/>
              <a:gd name="connsiteX4" fmla="*/ 550992 w 4938545"/>
              <a:gd name="connsiteY4" fmla="*/ 1712 h 2038142"/>
              <a:gd name="connsiteX0" fmla="*/ 470050 w 4938545"/>
              <a:gd name="connsiteY0" fmla="*/ 1712 h 2038142"/>
              <a:gd name="connsiteX1" fmla="*/ 0 w 4938545"/>
              <a:gd name="connsiteY1" fmla="*/ 2038142 h 2038142"/>
              <a:gd name="connsiteX2" fmla="*/ 4938545 w 4938545"/>
              <a:gd name="connsiteY2" fmla="*/ 2022324 h 2038142"/>
              <a:gd name="connsiteX3" fmla="*/ 4930294 w 4938545"/>
              <a:gd name="connsiteY3" fmla="*/ 0 h 2038142"/>
              <a:gd name="connsiteX4" fmla="*/ 470050 w 4938545"/>
              <a:gd name="connsiteY4" fmla="*/ 1712 h 2038142"/>
              <a:gd name="connsiteX0" fmla="*/ 470050 w 5097979"/>
              <a:gd name="connsiteY0" fmla="*/ 8566 h 2044996"/>
              <a:gd name="connsiteX1" fmla="*/ 0 w 5097979"/>
              <a:gd name="connsiteY1" fmla="*/ 2044996 h 2044996"/>
              <a:gd name="connsiteX2" fmla="*/ 4938545 w 5097979"/>
              <a:gd name="connsiteY2" fmla="*/ 2029178 h 2044996"/>
              <a:gd name="connsiteX3" fmla="*/ 5097960 w 5097979"/>
              <a:gd name="connsiteY3" fmla="*/ 0 h 2044996"/>
              <a:gd name="connsiteX4" fmla="*/ 470050 w 5097979"/>
              <a:gd name="connsiteY4" fmla="*/ 8566 h 2044996"/>
              <a:gd name="connsiteX0" fmla="*/ 470050 w 5100430"/>
              <a:gd name="connsiteY0" fmla="*/ 8566 h 2044996"/>
              <a:gd name="connsiteX1" fmla="*/ 0 w 5100430"/>
              <a:gd name="connsiteY1" fmla="*/ 2044996 h 2044996"/>
              <a:gd name="connsiteX2" fmla="*/ 5100430 w 5100430"/>
              <a:gd name="connsiteY2" fmla="*/ 2029178 h 2044996"/>
              <a:gd name="connsiteX3" fmla="*/ 5097960 w 5100430"/>
              <a:gd name="connsiteY3" fmla="*/ 0 h 2044996"/>
              <a:gd name="connsiteX4" fmla="*/ 470050 w 5100430"/>
              <a:gd name="connsiteY4" fmla="*/ 8566 h 2044996"/>
              <a:gd name="connsiteX0" fmla="*/ 348636 w 4979016"/>
              <a:gd name="connsiteY0" fmla="*/ 8566 h 2029178"/>
              <a:gd name="connsiteX1" fmla="*/ 0 w 4979016"/>
              <a:gd name="connsiteY1" fmla="*/ 1613242 h 2029178"/>
              <a:gd name="connsiteX2" fmla="*/ 4979016 w 4979016"/>
              <a:gd name="connsiteY2" fmla="*/ 2029178 h 2029178"/>
              <a:gd name="connsiteX3" fmla="*/ 4976546 w 4979016"/>
              <a:gd name="connsiteY3" fmla="*/ 0 h 2029178"/>
              <a:gd name="connsiteX4" fmla="*/ 348636 w 4979016"/>
              <a:gd name="connsiteY4" fmla="*/ 8566 h 2029178"/>
              <a:gd name="connsiteX0" fmla="*/ 348636 w 4976855"/>
              <a:gd name="connsiteY0" fmla="*/ 8566 h 1613242"/>
              <a:gd name="connsiteX1" fmla="*/ 0 w 4976855"/>
              <a:gd name="connsiteY1" fmla="*/ 1613242 h 1613242"/>
              <a:gd name="connsiteX2" fmla="*/ 4973235 w 4976855"/>
              <a:gd name="connsiteY2" fmla="*/ 1611131 h 1613242"/>
              <a:gd name="connsiteX3" fmla="*/ 4976546 w 4976855"/>
              <a:gd name="connsiteY3" fmla="*/ 0 h 1613242"/>
              <a:gd name="connsiteX4" fmla="*/ 348636 w 4976855"/>
              <a:gd name="connsiteY4" fmla="*/ 8566 h 1613242"/>
              <a:gd name="connsiteX0" fmla="*/ 6798 w 4976855"/>
              <a:gd name="connsiteY0" fmla="*/ 0 h 1616249"/>
              <a:gd name="connsiteX1" fmla="*/ 0 w 4976855"/>
              <a:gd name="connsiteY1" fmla="*/ 1616249 h 1616249"/>
              <a:gd name="connsiteX2" fmla="*/ 4973235 w 4976855"/>
              <a:gd name="connsiteY2" fmla="*/ 1614138 h 1616249"/>
              <a:gd name="connsiteX3" fmla="*/ 4976546 w 4976855"/>
              <a:gd name="connsiteY3" fmla="*/ 3007 h 1616249"/>
              <a:gd name="connsiteX4" fmla="*/ 6798 w 4976855"/>
              <a:gd name="connsiteY4" fmla="*/ 0 h 1616249"/>
              <a:gd name="connsiteX0" fmla="*/ 265164 w 5235221"/>
              <a:gd name="connsiteY0" fmla="*/ 0 h 1614138"/>
              <a:gd name="connsiteX1" fmla="*/ 0 w 5235221"/>
              <a:gd name="connsiteY1" fmla="*/ 1610462 h 1614138"/>
              <a:gd name="connsiteX2" fmla="*/ 5231601 w 5235221"/>
              <a:gd name="connsiteY2" fmla="*/ 1614138 h 1614138"/>
              <a:gd name="connsiteX3" fmla="*/ 5234912 w 5235221"/>
              <a:gd name="connsiteY3" fmla="*/ 3007 h 1614138"/>
              <a:gd name="connsiteX4" fmla="*/ 265164 w 5235221"/>
              <a:gd name="connsiteY4" fmla="*/ 0 h 1614138"/>
              <a:gd name="connsiteX0" fmla="*/ 285038 w 5255095"/>
              <a:gd name="connsiteY0" fmla="*/ 0 h 1614138"/>
              <a:gd name="connsiteX1" fmla="*/ 0 w 5255095"/>
              <a:gd name="connsiteY1" fmla="*/ 1598888 h 1614138"/>
              <a:gd name="connsiteX2" fmla="*/ 5251475 w 5255095"/>
              <a:gd name="connsiteY2" fmla="*/ 1614138 h 1614138"/>
              <a:gd name="connsiteX3" fmla="*/ 5254786 w 5255095"/>
              <a:gd name="connsiteY3" fmla="*/ 3007 h 1614138"/>
              <a:gd name="connsiteX4" fmla="*/ 285038 w 5255095"/>
              <a:gd name="connsiteY4" fmla="*/ 0 h 1614138"/>
              <a:gd name="connsiteX0" fmla="*/ 265164 w 5235221"/>
              <a:gd name="connsiteY0" fmla="*/ 0 h 1614138"/>
              <a:gd name="connsiteX1" fmla="*/ 0 w 5235221"/>
              <a:gd name="connsiteY1" fmla="*/ 1604675 h 1614138"/>
              <a:gd name="connsiteX2" fmla="*/ 5231601 w 5235221"/>
              <a:gd name="connsiteY2" fmla="*/ 1614138 h 1614138"/>
              <a:gd name="connsiteX3" fmla="*/ 5234912 w 5235221"/>
              <a:gd name="connsiteY3" fmla="*/ 3007 h 1614138"/>
              <a:gd name="connsiteX4" fmla="*/ 265164 w 5235221"/>
              <a:gd name="connsiteY4" fmla="*/ 0 h 1614138"/>
              <a:gd name="connsiteX0" fmla="*/ 292988 w 5263045"/>
              <a:gd name="connsiteY0" fmla="*/ 0 h 1614138"/>
              <a:gd name="connsiteX1" fmla="*/ 0 w 5263045"/>
              <a:gd name="connsiteY1" fmla="*/ 1610462 h 1614138"/>
              <a:gd name="connsiteX2" fmla="*/ 5259425 w 5263045"/>
              <a:gd name="connsiteY2" fmla="*/ 1614138 h 1614138"/>
              <a:gd name="connsiteX3" fmla="*/ 5262736 w 5263045"/>
              <a:gd name="connsiteY3" fmla="*/ 3007 h 1614138"/>
              <a:gd name="connsiteX4" fmla="*/ 292988 w 5263045"/>
              <a:gd name="connsiteY4" fmla="*/ 0 h 1614138"/>
              <a:gd name="connsiteX0" fmla="*/ 292988 w 8096190"/>
              <a:gd name="connsiteY0" fmla="*/ 0 h 1614138"/>
              <a:gd name="connsiteX1" fmla="*/ 0 w 8096190"/>
              <a:gd name="connsiteY1" fmla="*/ 1610462 h 1614138"/>
              <a:gd name="connsiteX2" fmla="*/ 8096190 w 8096190"/>
              <a:gd name="connsiteY2" fmla="*/ 1614138 h 1614138"/>
              <a:gd name="connsiteX3" fmla="*/ 5262736 w 8096190"/>
              <a:gd name="connsiteY3" fmla="*/ 3007 h 1614138"/>
              <a:gd name="connsiteX4" fmla="*/ 292988 w 8096190"/>
              <a:gd name="connsiteY4" fmla="*/ 0 h 1614138"/>
              <a:gd name="connsiteX0" fmla="*/ 292988 w 8096190"/>
              <a:gd name="connsiteY0" fmla="*/ 9248 h 1623386"/>
              <a:gd name="connsiteX1" fmla="*/ 0 w 8096190"/>
              <a:gd name="connsiteY1" fmla="*/ 1619710 h 1623386"/>
              <a:gd name="connsiteX2" fmla="*/ 8096190 w 8096190"/>
              <a:gd name="connsiteY2" fmla="*/ 1623386 h 1623386"/>
              <a:gd name="connsiteX3" fmla="*/ 8091085 w 8096190"/>
              <a:gd name="connsiteY3" fmla="*/ 0 h 1623386"/>
              <a:gd name="connsiteX4" fmla="*/ 292988 w 8096190"/>
              <a:gd name="connsiteY4" fmla="*/ 9248 h 1623386"/>
              <a:gd name="connsiteX0" fmla="*/ 292988 w 8096190"/>
              <a:gd name="connsiteY0" fmla="*/ 0 h 1614138"/>
              <a:gd name="connsiteX1" fmla="*/ 0 w 8096190"/>
              <a:gd name="connsiteY1" fmla="*/ 1610462 h 1614138"/>
              <a:gd name="connsiteX2" fmla="*/ 8096190 w 8096190"/>
              <a:gd name="connsiteY2" fmla="*/ 1614138 h 1614138"/>
              <a:gd name="connsiteX3" fmla="*/ 8082667 w 8096190"/>
              <a:gd name="connsiteY3" fmla="*/ 15264 h 1614138"/>
              <a:gd name="connsiteX4" fmla="*/ 292988 w 8096190"/>
              <a:gd name="connsiteY4" fmla="*/ 0 h 1614138"/>
              <a:gd name="connsiteX0" fmla="*/ 292988 w 8476493"/>
              <a:gd name="connsiteY0" fmla="*/ 0 h 1614138"/>
              <a:gd name="connsiteX1" fmla="*/ 0 w 8476493"/>
              <a:gd name="connsiteY1" fmla="*/ 1610462 h 1614138"/>
              <a:gd name="connsiteX2" fmla="*/ 8096190 w 8476493"/>
              <a:gd name="connsiteY2" fmla="*/ 1614138 h 1614138"/>
              <a:gd name="connsiteX3" fmla="*/ 8476485 w 8476493"/>
              <a:gd name="connsiteY3" fmla="*/ 15265 h 1614138"/>
              <a:gd name="connsiteX4" fmla="*/ 292988 w 8476493"/>
              <a:gd name="connsiteY4" fmla="*/ 0 h 1614138"/>
              <a:gd name="connsiteX0" fmla="*/ 292988 w 8490007"/>
              <a:gd name="connsiteY0" fmla="*/ 0 h 1610463"/>
              <a:gd name="connsiteX1" fmla="*/ 0 w 8490007"/>
              <a:gd name="connsiteY1" fmla="*/ 1610462 h 1610463"/>
              <a:gd name="connsiteX2" fmla="*/ 8490007 w 8490007"/>
              <a:gd name="connsiteY2" fmla="*/ 1588654 h 1610463"/>
              <a:gd name="connsiteX3" fmla="*/ 8476485 w 8490007"/>
              <a:gd name="connsiteY3" fmla="*/ 15265 h 1610463"/>
              <a:gd name="connsiteX4" fmla="*/ 292988 w 8490007"/>
              <a:gd name="connsiteY4" fmla="*/ 0 h 1610463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15265 h 1610462"/>
              <a:gd name="connsiteX4" fmla="*/ 292988 w 8481255"/>
              <a:gd name="connsiteY4" fmla="*/ 0 h 1610462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15265 h 1610462"/>
              <a:gd name="connsiteX4" fmla="*/ 292988 w 8481255"/>
              <a:gd name="connsiteY4" fmla="*/ 0 h 1610462"/>
              <a:gd name="connsiteX0" fmla="*/ 292988 w 8481255"/>
              <a:gd name="connsiteY0" fmla="*/ 10218 h 1620680"/>
              <a:gd name="connsiteX1" fmla="*/ 0 w 8481255"/>
              <a:gd name="connsiteY1" fmla="*/ 1620680 h 1620680"/>
              <a:gd name="connsiteX2" fmla="*/ 8481255 w 8481255"/>
              <a:gd name="connsiteY2" fmla="*/ 1598873 h 1620680"/>
              <a:gd name="connsiteX3" fmla="*/ 8476485 w 8481255"/>
              <a:gd name="connsiteY3" fmla="*/ 0 h 1620680"/>
              <a:gd name="connsiteX4" fmla="*/ 292988 w 8481255"/>
              <a:gd name="connsiteY4" fmla="*/ 10218 h 1620680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2524 h 1610462"/>
              <a:gd name="connsiteX4" fmla="*/ 292988 w 8481255"/>
              <a:gd name="connsiteY4" fmla="*/ 0 h 1610462"/>
              <a:gd name="connsiteX0" fmla="*/ 292988 w 8476598"/>
              <a:gd name="connsiteY0" fmla="*/ 0 h 1610462"/>
              <a:gd name="connsiteX1" fmla="*/ 0 w 8476598"/>
              <a:gd name="connsiteY1" fmla="*/ 1610462 h 1610462"/>
              <a:gd name="connsiteX2" fmla="*/ 8455001 w 8476598"/>
              <a:gd name="connsiteY2" fmla="*/ 1601397 h 1610462"/>
              <a:gd name="connsiteX3" fmla="*/ 8476485 w 8476598"/>
              <a:gd name="connsiteY3" fmla="*/ 2524 h 1610462"/>
              <a:gd name="connsiteX4" fmla="*/ 292988 w 8476598"/>
              <a:gd name="connsiteY4" fmla="*/ 0 h 1610462"/>
              <a:gd name="connsiteX0" fmla="*/ 292988 w 8481256"/>
              <a:gd name="connsiteY0" fmla="*/ 0 h 1610462"/>
              <a:gd name="connsiteX1" fmla="*/ 0 w 8481256"/>
              <a:gd name="connsiteY1" fmla="*/ 1610462 h 1610462"/>
              <a:gd name="connsiteX2" fmla="*/ 8481256 w 8481256"/>
              <a:gd name="connsiteY2" fmla="*/ 1588655 h 1610462"/>
              <a:gd name="connsiteX3" fmla="*/ 8476485 w 8481256"/>
              <a:gd name="connsiteY3" fmla="*/ 2524 h 1610462"/>
              <a:gd name="connsiteX4" fmla="*/ 292988 w 8481256"/>
              <a:gd name="connsiteY4" fmla="*/ 0 h 1610462"/>
              <a:gd name="connsiteX0" fmla="*/ 292988 w 8481256"/>
              <a:gd name="connsiteY0" fmla="*/ 0 h 1626879"/>
              <a:gd name="connsiteX1" fmla="*/ 0 w 8481256"/>
              <a:gd name="connsiteY1" fmla="*/ 1610462 h 1626879"/>
              <a:gd name="connsiteX2" fmla="*/ 8481256 w 8481256"/>
              <a:gd name="connsiteY2" fmla="*/ 1626879 h 1626879"/>
              <a:gd name="connsiteX3" fmla="*/ 8476485 w 8481256"/>
              <a:gd name="connsiteY3" fmla="*/ 2524 h 1626879"/>
              <a:gd name="connsiteX4" fmla="*/ 292988 w 8481256"/>
              <a:gd name="connsiteY4" fmla="*/ 0 h 1626879"/>
              <a:gd name="connsiteX0" fmla="*/ 292988 w 8481256"/>
              <a:gd name="connsiteY0" fmla="*/ 0 h 1626879"/>
              <a:gd name="connsiteX1" fmla="*/ 0 w 8481256"/>
              <a:gd name="connsiteY1" fmla="*/ 1610462 h 1626879"/>
              <a:gd name="connsiteX2" fmla="*/ 8481256 w 8481256"/>
              <a:gd name="connsiteY2" fmla="*/ 1626879 h 1626879"/>
              <a:gd name="connsiteX3" fmla="*/ 8476485 w 8481256"/>
              <a:gd name="connsiteY3" fmla="*/ 2524 h 1626879"/>
              <a:gd name="connsiteX4" fmla="*/ 292988 w 8481256"/>
              <a:gd name="connsiteY4" fmla="*/ 0 h 1626879"/>
              <a:gd name="connsiteX0" fmla="*/ 292988 w 8481256"/>
              <a:gd name="connsiteY0" fmla="*/ 0 h 1614137"/>
              <a:gd name="connsiteX1" fmla="*/ 0 w 8481256"/>
              <a:gd name="connsiteY1" fmla="*/ 1610462 h 1614137"/>
              <a:gd name="connsiteX2" fmla="*/ 8481256 w 8481256"/>
              <a:gd name="connsiteY2" fmla="*/ 1614137 h 1614137"/>
              <a:gd name="connsiteX3" fmla="*/ 8476485 w 8481256"/>
              <a:gd name="connsiteY3" fmla="*/ 2524 h 1614137"/>
              <a:gd name="connsiteX4" fmla="*/ 292988 w 8481256"/>
              <a:gd name="connsiteY4" fmla="*/ 0 h 1614137"/>
              <a:gd name="connsiteX0" fmla="*/ 292988 w 8809051"/>
              <a:gd name="connsiteY0" fmla="*/ 10218 h 1624355"/>
              <a:gd name="connsiteX1" fmla="*/ 0 w 8809051"/>
              <a:gd name="connsiteY1" fmla="*/ 1620680 h 1624355"/>
              <a:gd name="connsiteX2" fmla="*/ 8481256 w 8809051"/>
              <a:gd name="connsiteY2" fmla="*/ 1624355 h 1624355"/>
              <a:gd name="connsiteX3" fmla="*/ 8809042 w 8809051"/>
              <a:gd name="connsiteY3" fmla="*/ 0 h 1624355"/>
              <a:gd name="connsiteX4" fmla="*/ 292988 w 8809051"/>
              <a:gd name="connsiteY4" fmla="*/ 10218 h 1624355"/>
              <a:gd name="connsiteX0" fmla="*/ 292988 w 8822565"/>
              <a:gd name="connsiteY0" fmla="*/ 10218 h 1624355"/>
              <a:gd name="connsiteX1" fmla="*/ 0 w 8822565"/>
              <a:gd name="connsiteY1" fmla="*/ 1620680 h 1624355"/>
              <a:gd name="connsiteX2" fmla="*/ 8822565 w 8822565"/>
              <a:gd name="connsiteY2" fmla="*/ 1624355 h 1624355"/>
              <a:gd name="connsiteX3" fmla="*/ 8809042 w 8822565"/>
              <a:gd name="connsiteY3" fmla="*/ 0 h 1624355"/>
              <a:gd name="connsiteX4" fmla="*/ 292988 w 8822565"/>
              <a:gd name="connsiteY4" fmla="*/ 10218 h 1624355"/>
              <a:gd name="connsiteX0" fmla="*/ 292988 w 8813267"/>
              <a:gd name="connsiteY0" fmla="*/ 10218 h 1631123"/>
              <a:gd name="connsiteX1" fmla="*/ 0 w 8813267"/>
              <a:gd name="connsiteY1" fmla="*/ 1620680 h 1631123"/>
              <a:gd name="connsiteX2" fmla="*/ 8813267 w 8813267"/>
              <a:gd name="connsiteY2" fmla="*/ 1631123 h 1631123"/>
              <a:gd name="connsiteX3" fmla="*/ 8809042 w 8813267"/>
              <a:gd name="connsiteY3" fmla="*/ 0 h 1631123"/>
              <a:gd name="connsiteX4" fmla="*/ 292988 w 8813267"/>
              <a:gd name="connsiteY4" fmla="*/ 10218 h 1631123"/>
              <a:gd name="connsiteX0" fmla="*/ 292988 w 8813267"/>
              <a:gd name="connsiteY0" fmla="*/ 10218 h 1631123"/>
              <a:gd name="connsiteX1" fmla="*/ 0 w 8813267"/>
              <a:gd name="connsiteY1" fmla="*/ 1620680 h 1631123"/>
              <a:gd name="connsiteX2" fmla="*/ 8813267 w 8813267"/>
              <a:gd name="connsiteY2" fmla="*/ 1631123 h 1631123"/>
              <a:gd name="connsiteX3" fmla="*/ 8795095 w 8813267"/>
              <a:gd name="connsiteY3" fmla="*/ 0 h 1631123"/>
              <a:gd name="connsiteX4" fmla="*/ 292988 w 8813267"/>
              <a:gd name="connsiteY4" fmla="*/ 10218 h 1631123"/>
              <a:gd name="connsiteX0" fmla="*/ 292988 w 8799320"/>
              <a:gd name="connsiteY0" fmla="*/ 10218 h 1624355"/>
              <a:gd name="connsiteX1" fmla="*/ 0 w 8799320"/>
              <a:gd name="connsiteY1" fmla="*/ 1620680 h 1624355"/>
              <a:gd name="connsiteX2" fmla="*/ 8799320 w 8799320"/>
              <a:gd name="connsiteY2" fmla="*/ 1624355 h 1624355"/>
              <a:gd name="connsiteX3" fmla="*/ 8795095 w 8799320"/>
              <a:gd name="connsiteY3" fmla="*/ 0 h 1624355"/>
              <a:gd name="connsiteX4" fmla="*/ 292988 w 8799320"/>
              <a:gd name="connsiteY4" fmla="*/ 10218 h 1624355"/>
              <a:gd name="connsiteX0" fmla="*/ 292988 w 9113577"/>
              <a:gd name="connsiteY0" fmla="*/ 6834 h 1620971"/>
              <a:gd name="connsiteX1" fmla="*/ 0 w 9113577"/>
              <a:gd name="connsiteY1" fmla="*/ 1617296 h 1620971"/>
              <a:gd name="connsiteX2" fmla="*/ 8799320 w 9113577"/>
              <a:gd name="connsiteY2" fmla="*/ 1620971 h 1620971"/>
              <a:gd name="connsiteX3" fmla="*/ 9113567 w 9113577"/>
              <a:gd name="connsiteY3" fmla="*/ 0 h 1620971"/>
              <a:gd name="connsiteX4" fmla="*/ 292988 w 9113577"/>
              <a:gd name="connsiteY4" fmla="*/ 6834 h 1620971"/>
              <a:gd name="connsiteX0" fmla="*/ 292988 w 9113997"/>
              <a:gd name="connsiteY0" fmla="*/ 6834 h 1624355"/>
              <a:gd name="connsiteX1" fmla="*/ 0 w 9113997"/>
              <a:gd name="connsiteY1" fmla="*/ 1617296 h 1624355"/>
              <a:gd name="connsiteX2" fmla="*/ 9113144 w 9113997"/>
              <a:gd name="connsiteY2" fmla="*/ 1624355 h 1624355"/>
              <a:gd name="connsiteX3" fmla="*/ 9113567 w 9113997"/>
              <a:gd name="connsiteY3" fmla="*/ 0 h 1624355"/>
              <a:gd name="connsiteX4" fmla="*/ 292988 w 9113997"/>
              <a:gd name="connsiteY4" fmla="*/ 6834 h 1624355"/>
              <a:gd name="connsiteX0" fmla="*/ 292988 w 9420427"/>
              <a:gd name="connsiteY0" fmla="*/ 2321 h 1619842"/>
              <a:gd name="connsiteX1" fmla="*/ 0 w 9420427"/>
              <a:gd name="connsiteY1" fmla="*/ 1612783 h 1619842"/>
              <a:gd name="connsiteX2" fmla="*/ 9113144 w 9420427"/>
              <a:gd name="connsiteY2" fmla="*/ 1619842 h 1619842"/>
              <a:gd name="connsiteX3" fmla="*/ 9420417 w 9420427"/>
              <a:gd name="connsiteY3" fmla="*/ 0 h 1619842"/>
              <a:gd name="connsiteX4" fmla="*/ 292988 w 9420427"/>
              <a:gd name="connsiteY4" fmla="*/ 2321 h 1619842"/>
              <a:gd name="connsiteX0" fmla="*/ 292988 w 9426193"/>
              <a:gd name="connsiteY0" fmla="*/ 2321 h 1612782"/>
              <a:gd name="connsiteX1" fmla="*/ 0 w 9426193"/>
              <a:gd name="connsiteY1" fmla="*/ 1612783 h 1612782"/>
              <a:gd name="connsiteX2" fmla="*/ 9426193 w 9426193"/>
              <a:gd name="connsiteY2" fmla="*/ 1610817 h 1612782"/>
              <a:gd name="connsiteX3" fmla="*/ 9420417 w 9426193"/>
              <a:gd name="connsiteY3" fmla="*/ 0 h 1612782"/>
              <a:gd name="connsiteX4" fmla="*/ 292988 w 9426193"/>
              <a:gd name="connsiteY4" fmla="*/ 2321 h 1612782"/>
              <a:gd name="connsiteX0" fmla="*/ 292988 w 9426193"/>
              <a:gd name="connsiteY0" fmla="*/ 2321 h 1612783"/>
              <a:gd name="connsiteX1" fmla="*/ 0 w 9426193"/>
              <a:gd name="connsiteY1" fmla="*/ 1612783 h 1612783"/>
              <a:gd name="connsiteX2" fmla="*/ 9426193 w 9426193"/>
              <a:gd name="connsiteY2" fmla="*/ 1610817 h 1612783"/>
              <a:gd name="connsiteX3" fmla="*/ 9423516 w 9426193"/>
              <a:gd name="connsiteY3" fmla="*/ 0 h 1612783"/>
              <a:gd name="connsiteX4" fmla="*/ 292988 w 9426193"/>
              <a:gd name="connsiteY4" fmla="*/ 2321 h 1612783"/>
              <a:gd name="connsiteX0" fmla="*/ 292988 w 9739674"/>
              <a:gd name="connsiteY0" fmla="*/ 2321 h 1612783"/>
              <a:gd name="connsiteX1" fmla="*/ 0 w 9739674"/>
              <a:gd name="connsiteY1" fmla="*/ 1612783 h 1612783"/>
              <a:gd name="connsiteX2" fmla="*/ 9426193 w 9739674"/>
              <a:gd name="connsiteY2" fmla="*/ 1610817 h 1612783"/>
              <a:gd name="connsiteX3" fmla="*/ 9739664 w 9739674"/>
              <a:gd name="connsiteY3" fmla="*/ 0 h 1612783"/>
              <a:gd name="connsiteX4" fmla="*/ 292988 w 9739674"/>
              <a:gd name="connsiteY4" fmla="*/ 2321 h 1612783"/>
              <a:gd name="connsiteX0" fmla="*/ 292988 w 9740146"/>
              <a:gd name="connsiteY0" fmla="*/ 2321 h 1612783"/>
              <a:gd name="connsiteX1" fmla="*/ 0 w 9740146"/>
              <a:gd name="connsiteY1" fmla="*/ 1612783 h 1612783"/>
              <a:gd name="connsiteX2" fmla="*/ 9740017 w 9740146"/>
              <a:gd name="connsiteY2" fmla="*/ 1607433 h 1612783"/>
              <a:gd name="connsiteX3" fmla="*/ 9739664 w 9740146"/>
              <a:gd name="connsiteY3" fmla="*/ 0 h 1612783"/>
              <a:gd name="connsiteX4" fmla="*/ 292988 w 9740146"/>
              <a:gd name="connsiteY4" fmla="*/ 2321 h 1612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40146" h="1612783">
                <a:moveTo>
                  <a:pt x="292988" y="2321"/>
                </a:moveTo>
                <a:lnTo>
                  <a:pt x="0" y="1612783"/>
                </a:lnTo>
                <a:lnTo>
                  <a:pt x="9740017" y="1607433"/>
                </a:lnTo>
                <a:cubicBezTo>
                  <a:pt x="9736175" y="693994"/>
                  <a:pt x="9741746" y="1216075"/>
                  <a:pt x="9739664" y="0"/>
                </a:cubicBezTo>
                <a:lnTo>
                  <a:pt x="292988" y="232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70" dirty="0"/>
          </a:p>
        </p:txBody>
      </p:sp>
      <p:sp>
        <p:nvSpPr>
          <p:cNvPr id="96" name="Dowolny kształt: kształt 95">
            <a:extLst>
              <a:ext uri="{FF2B5EF4-FFF2-40B4-BE49-F238E27FC236}">
                <a16:creationId xmlns:a16="http://schemas.microsoft.com/office/drawing/2014/main" id="{B59D93D1-C2D1-30EE-3269-CE77CB62B015}"/>
              </a:ext>
            </a:extLst>
          </p:cNvPr>
          <p:cNvSpPr>
            <a:spLocks/>
          </p:cNvSpPr>
          <p:nvPr/>
        </p:nvSpPr>
        <p:spPr>
          <a:xfrm>
            <a:off x="5942168" y="5216673"/>
            <a:ext cx="9655833" cy="1134733"/>
          </a:xfrm>
          <a:custGeom>
            <a:avLst/>
            <a:gdLst>
              <a:gd name="connsiteX0" fmla="*/ 1760483 w 5507421"/>
              <a:gd name="connsiteY0" fmla="*/ 0 h 6516414"/>
              <a:gd name="connsiteX1" fmla="*/ 0 w 5507421"/>
              <a:gd name="connsiteY1" fmla="*/ 6516414 h 6516414"/>
              <a:gd name="connsiteX2" fmla="*/ 3783724 w 5507421"/>
              <a:gd name="connsiteY2" fmla="*/ 6516414 h 6516414"/>
              <a:gd name="connsiteX3" fmla="*/ 5507421 w 5507421"/>
              <a:gd name="connsiteY3" fmla="*/ 47297 h 6516414"/>
              <a:gd name="connsiteX4" fmla="*/ 1760483 w 5507421"/>
              <a:gd name="connsiteY4" fmla="*/ 0 h 6516414"/>
              <a:gd name="connsiteX0" fmla="*/ 1735770 w 5507421"/>
              <a:gd name="connsiteY0" fmla="*/ 14487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735770 w 5507421"/>
              <a:gd name="connsiteY4" fmla="*/ 14487 h 6469117"/>
              <a:gd name="connsiteX0" fmla="*/ 1741948 w 5507421"/>
              <a:gd name="connsiteY0" fmla="*/ 8308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741948 w 5507421"/>
              <a:gd name="connsiteY4" fmla="*/ 8308 h 6469117"/>
              <a:gd name="connsiteX0" fmla="*/ 1605546 w 5507421"/>
              <a:gd name="connsiteY0" fmla="*/ 493293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605546 w 5507421"/>
              <a:gd name="connsiteY4" fmla="*/ 493293 h 6469117"/>
              <a:gd name="connsiteX0" fmla="*/ 1605546 w 5360915"/>
              <a:gd name="connsiteY0" fmla="*/ 0 h 5975824"/>
              <a:gd name="connsiteX1" fmla="*/ 0 w 5360915"/>
              <a:gd name="connsiteY1" fmla="*/ 5975824 h 5975824"/>
              <a:gd name="connsiteX2" fmla="*/ 3783724 w 5360915"/>
              <a:gd name="connsiteY2" fmla="*/ 5975824 h 5975824"/>
              <a:gd name="connsiteX3" fmla="*/ 5360915 w 5360915"/>
              <a:gd name="connsiteY3" fmla="*/ 11901 h 5975824"/>
              <a:gd name="connsiteX4" fmla="*/ 1605546 w 5360915"/>
              <a:gd name="connsiteY4" fmla="*/ 0 h 5975824"/>
              <a:gd name="connsiteX0" fmla="*/ 857859 w 5360915"/>
              <a:gd name="connsiteY0" fmla="*/ 0 h 5970772"/>
              <a:gd name="connsiteX1" fmla="*/ 0 w 5360915"/>
              <a:gd name="connsiteY1" fmla="*/ 5970772 h 5970772"/>
              <a:gd name="connsiteX2" fmla="*/ 3783724 w 5360915"/>
              <a:gd name="connsiteY2" fmla="*/ 5970772 h 5970772"/>
              <a:gd name="connsiteX3" fmla="*/ 5360915 w 5360915"/>
              <a:gd name="connsiteY3" fmla="*/ 6849 h 5970772"/>
              <a:gd name="connsiteX4" fmla="*/ 857859 w 5360915"/>
              <a:gd name="connsiteY4" fmla="*/ 0 h 5970772"/>
              <a:gd name="connsiteX0" fmla="*/ 1600493 w 6103549"/>
              <a:gd name="connsiteY0" fmla="*/ 0 h 5975824"/>
              <a:gd name="connsiteX1" fmla="*/ 0 w 6103549"/>
              <a:gd name="connsiteY1" fmla="*/ 5975824 h 5975824"/>
              <a:gd name="connsiteX2" fmla="*/ 4526358 w 6103549"/>
              <a:gd name="connsiteY2" fmla="*/ 5970772 h 5975824"/>
              <a:gd name="connsiteX3" fmla="*/ 6103549 w 6103549"/>
              <a:gd name="connsiteY3" fmla="*/ 6849 h 5975824"/>
              <a:gd name="connsiteX4" fmla="*/ 1600493 w 6103549"/>
              <a:gd name="connsiteY4" fmla="*/ 0 h 5975824"/>
              <a:gd name="connsiteX0" fmla="*/ 1600493 w 6103549"/>
              <a:gd name="connsiteY0" fmla="*/ 0 h 5975824"/>
              <a:gd name="connsiteX1" fmla="*/ 0 w 6103549"/>
              <a:gd name="connsiteY1" fmla="*/ 5975824 h 5975824"/>
              <a:gd name="connsiteX2" fmla="*/ 5334667 w 6103549"/>
              <a:gd name="connsiteY2" fmla="*/ 5975824 h 5975824"/>
              <a:gd name="connsiteX3" fmla="*/ 6103549 w 6103549"/>
              <a:gd name="connsiteY3" fmla="*/ 6849 h 5975824"/>
              <a:gd name="connsiteX4" fmla="*/ 1600493 w 6103549"/>
              <a:gd name="connsiteY4" fmla="*/ 0 h 5975824"/>
              <a:gd name="connsiteX0" fmla="*/ 1600493 w 6947222"/>
              <a:gd name="connsiteY0" fmla="*/ 0 h 5975824"/>
              <a:gd name="connsiteX1" fmla="*/ 0 w 6947222"/>
              <a:gd name="connsiteY1" fmla="*/ 5975824 h 5975824"/>
              <a:gd name="connsiteX2" fmla="*/ 5334667 w 6947222"/>
              <a:gd name="connsiteY2" fmla="*/ 5975824 h 5975824"/>
              <a:gd name="connsiteX3" fmla="*/ 6947222 w 6947222"/>
              <a:gd name="connsiteY3" fmla="*/ 1797 h 5975824"/>
              <a:gd name="connsiteX4" fmla="*/ 1600493 w 6947222"/>
              <a:gd name="connsiteY4" fmla="*/ 0 h 5975824"/>
              <a:gd name="connsiteX0" fmla="*/ 1600493 w 7017561"/>
              <a:gd name="connsiteY0" fmla="*/ 0 h 5975824"/>
              <a:gd name="connsiteX1" fmla="*/ 0 w 7017561"/>
              <a:gd name="connsiteY1" fmla="*/ 5975824 h 5975824"/>
              <a:gd name="connsiteX2" fmla="*/ 5334667 w 7017561"/>
              <a:gd name="connsiteY2" fmla="*/ 5975824 h 5975824"/>
              <a:gd name="connsiteX3" fmla="*/ 7017561 w 7017561"/>
              <a:gd name="connsiteY3" fmla="*/ 1797 h 5975824"/>
              <a:gd name="connsiteX4" fmla="*/ 1600493 w 7017561"/>
              <a:gd name="connsiteY4" fmla="*/ 0 h 5975824"/>
              <a:gd name="connsiteX0" fmla="*/ 1600493 w 7017561"/>
              <a:gd name="connsiteY0" fmla="*/ 0 h 5975824"/>
              <a:gd name="connsiteX1" fmla="*/ 0 w 7017561"/>
              <a:gd name="connsiteY1" fmla="*/ 5975824 h 5975824"/>
              <a:gd name="connsiteX2" fmla="*/ 7007718 w 7017561"/>
              <a:gd name="connsiteY2" fmla="*/ 5975824 h 5975824"/>
              <a:gd name="connsiteX3" fmla="*/ 7017561 w 7017561"/>
              <a:gd name="connsiteY3" fmla="*/ 1797 h 5975824"/>
              <a:gd name="connsiteX4" fmla="*/ 1600493 w 7017561"/>
              <a:gd name="connsiteY4" fmla="*/ 0 h 5975824"/>
              <a:gd name="connsiteX0" fmla="*/ 1600493 w 7007718"/>
              <a:gd name="connsiteY0" fmla="*/ 0 h 5975824"/>
              <a:gd name="connsiteX1" fmla="*/ 0 w 7007718"/>
              <a:gd name="connsiteY1" fmla="*/ 5975824 h 5975824"/>
              <a:gd name="connsiteX2" fmla="*/ 7007718 w 7007718"/>
              <a:gd name="connsiteY2" fmla="*/ 5975824 h 5975824"/>
              <a:gd name="connsiteX3" fmla="*/ 6309152 w 7007718"/>
              <a:gd name="connsiteY3" fmla="*/ 21894 h 5975824"/>
              <a:gd name="connsiteX4" fmla="*/ 1600493 w 7007718"/>
              <a:gd name="connsiteY4" fmla="*/ 0 h 5975824"/>
              <a:gd name="connsiteX0" fmla="*/ 1600493 w 6309152"/>
              <a:gd name="connsiteY0" fmla="*/ 0 h 5975824"/>
              <a:gd name="connsiteX1" fmla="*/ 0 w 6309152"/>
              <a:gd name="connsiteY1" fmla="*/ 5975824 h 5975824"/>
              <a:gd name="connsiteX2" fmla="*/ 6294285 w 6309152"/>
              <a:gd name="connsiteY2" fmla="*/ 5955727 h 5975824"/>
              <a:gd name="connsiteX3" fmla="*/ 6309152 w 6309152"/>
              <a:gd name="connsiteY3" fmla="*/ 21894 h 5975824"/>
              <a:gd name="connsiteX4" fmla="*/ 1600493 w 6309152"/>
              <a:gd name="connsiteY4" fmla="*/ 0 h 5975824"/>
              <a:gd name="connsiteX0" fmla="*/ 1600493 w 6309152"/>
              <a:gd name="connsiteY0" fmla="*/ 0 h 5985872"/>
              <a:gd name="connsiteX1" fmla="*/ 0 w 6309152"/>
              <a:gd name="connsiteY1" fmla="*/ 5975824 h 5985872"/>
              <a:gd name="connsiteX2" fmla="*/ 6289261 w 6309152"/>
              <a:gd name="connsiteY2" fmla="*/ 5985872 h 5985872"/>
              <a:gd name="connsiteX3" fmla="*/ 6309152 w 6309152"/>
              <a:gd name="connsiteY3" fmla="*/ 21894 h 5985872"/>
              <a:gd name="connsiteX4" fmla="*/ 1600493 w 6309152"/>
              <a:gd name="connsiteY4" fmla="*/ 0 h 5985872"/>
              <a:gd name="connsiteX0" fmla="*/ 1600493 w 6309152"/>
              <a:gd name="connsiteY0" fmla="*/ 0 h 5975824"/>
              <a:gd name="connsiteX1" fmla="*/ 0 w 6309152"/>
              <a:gd name="connsiteY1" fmla="*/ 5975824 h 5975824"/>
              <a:gd name="connsiteX2" fmla="*/ 6289261 w 6309152"/>
              <a:gd name="connsiteY2" fmla="*/ 5975824 h 5975824"/>
              <a:gd name="connsiteX3" fmla="*/ 6309152 w 6309152"/>
              <a:gd name="connsiteY3" fmla="*/ 21894 h 5975824"/>
              <a:gd name="connsiteX4" fmla="*/ 1600493 w 6309152"/>
              <a:gd name="connsiteY4" fmla="*/ 0 h 5975824"/>
              <a:gd name="connsiteX0" fmla="*/ 1600493 w 6304127"/>
              <a:gd name="connsiteY0" fmla="*/ 8251 h 5984075"/>
              <a:gd name="connsiteX1" fmla="*/ 0 w 6304127"/>
              <a:gd name="connsiteY1" fmla="*/ 5984075 h 5984075"/>
              <a:gd name="connsiteX2" fmla="*/ 6289261 w 6304127"/>
              <a:gd name="connsiteY2" fmla="*/ 5984075 h 5984075"/>
              <a:gd name="connsiteX3" fmla="*/ 6304127 w 6304127"/>
              <a:gd name="connsiteY3" fmla="*/ 0 h 5984075"/>
              <a:gd name="connsiteX4" fmla="*/ 1600493 w 6304127"/>
              <a:gd name="connsiteY4" fmla="*/ 8251 h 5984075"/>
              <a:gd name="connsiteX0" fmla="*/ 762784 w 5466418"/>
              <a:gd name="connsiteY0" fmla="*/ 8251 h 5984075"/>
              <a:gd name="connsiteX1" fmla="*/ 0 w 5466418"/>
              <a:gd name="connsiteY1" fmla="*/ 2857417 h 5984075"/>
              <a:gd name="connsiteX2" fmla="*/ 5451552 w 5466418"/>
              <a:gd name="connsiteY2" fmla="*/ 5984075 h 5984075"/>
              <a:gd name="connsiteX3" fmla="*/ 5466418 w 5466418"/>
              <a:gd name="connsiteY3" fmla="*/ 0 h 5984075"/>
              <a:gd name="connsiteX4" fmla="*/ 762784 w 5466418"/>
              <a:gd name="connsiteY4" fmla="*/ 8251 h 5984075"/>
              <a:gd name="connsiteX0" fmla="*/ 762784 w 5466418"/>
              <a:gd name="connsiteY0" fmla="*/ 8251 h 2857417"/>
              <a:gd name="connsiteX1" fmla="*/ 0 w 5466418"/>
              <a:gd name="connsiteY1" fmla="*/ 2857417 h 2857417"/>
              <a:gd name="connsiteX2" fmla="*/ 5457451 w 5466418"/>
              <a:gd name="connsiteY2" fmla="*/ 2845619 h 2857417"/>
              <a:gd name="connsiteX3" fmla="*/ 5466418 w 5466418"/>
              <a:gd name="connsiteY3" fmla="*/ 0 h 2857417"/>
              <a:gd name="connsiteX4" fmla="*/ 762784 w 5466418"/>
              <a:gd name="connsiteY4" fmla="*/ 8251 h 2857417"/>
              <a:gd name="connsiteX0" fmla="*/ 509112 w 5212746"/>
              <a:gd name="connsiteY0" fmla="*/ 8251 h 2845619"/>
              <a:gd name="connsiteX1" fmla="*/ 0 w 5212746"/>
              <a:gd name="connsiteY1" fmla="*/ 1919419 h 2845619"/>
              <a:gd name="connsiteX2" fmla="*/ 5203779 w 5212746"/>
              <a:gd name="connsiteY2" fmla="*/ 2845619 h 2845619"/>
              <a:gd name="connsiteX3" fmla="*/ 5212746 w 5212746"/>
              <a:gd name="connsiteY3" fmla="*/ 0 h 2845619"/>
              <a:gd name="connsiteX4" fmla="*/ 509112 w 5212746"/>
              <a:gd name="connsiteY4" fmla="*/ 8251 h 2845619"/>
              <a:gd name="connsiteX0" fmla="*/ 509112 w 5212746"/>
              <a:gd name="connsiteY0" fmla="*/ 8251 h 1919419"/>
              <a:gd name="connsiteX1" fmla="*/ 0 w 5212746"/>
              <a:gd name="connsiteY1" fmla="*/ 1919419 h 1919419"/>
              <a:gd name="connsiteX2" fmla="*/ 5197880 w 5212746"/>
              <a:gd name="connsiteY2" fmla="*/ 1901722 h 1919419"/>
              <a:gd name="connsiteX3" fmla="*/ 5212746 w 5212746"/>
              <a:gd name="connsiteY3" fmla="*/ 0 h 1919419"/>
              <a:gd name="connsiteX4" fmla="*/ 509112 w 5212746"/>
              <a:gd name="connsiteY4" fmla="*/ 8251 h 1919419"/>
              <a:gd name="connsiteX0" fmla="*/ 509112 w 5212746"/>
              <a:gd name="connsiteY0" fmla="*/ 8251 h 1919419"/>
              <a:gd name="connsiteX1" fmla="*/ 0 w 5212746"/>
              <a:gd name="connsiteY1" fmla="*/ 1919419 h 1919419"/>
              <a:gd name="connsiteX2" fmla="*/ 5197880 w 5212746"/>
              <a:gd name="connsiteY2" fmla="*/ 1913521 h 1919419"/>
              <a:gd name="connsiteX3" fmla="*/ 5212746 w 5212746"/>
              <a:gd name="connsiteY3" fmla="*/ 0 h 1919419"/>
              <a:gd name="connsiteX4" fmla="*/ 509112 w 5212746"/>
              <a:gd name="connsiteY4" fmla="*/ 8251 h 1919419"/>
              <a:gd name="connsiteX0" fmla="*/ 302635 w 5006269"/>
              <a:gd name="connsiteY0" fmla="*/ 8251 h 1913521"/>
              <a:gd name="connsiteX1" fmla="*/ 0 w 5006269"/>
              <a:gd name="connsiteY1" fmla="*/ 1128906 h 1913521"/>
              <a:gd name="connsiteX2" fmla="*/ 4991403 w 5006269"/>
              <a:gd name="connsiteY2" fmla="*/ 1913521 h 1913521"/>
              <a:gd name="connsiteX3" fmla="*/ 5006269 w 5006269"/>
              <a:gd name="connsiteY3" fmla="*/ 0 h 1913521"/>
              <a:gd name="connsiteX4" fmla="*/ 302635 w 5006269"/>
              <a:gd name="connsiteY4" fmla="*/ 8251 h 1913521"/>
              <a:gd name="connsiteX0" fmla="*/ 302635 w 5006269"/>
              <a:gd name="connsiteY0" fmla="*/ 8251 h 1128906"/>
              <a:gd name="connsiteX1" fmla="*/ 0 w 5006269"/>
              <a:gd name="connsiteY1" fmla="*/ 1128906 h 1128906"/>
              <a:gd name="connsiteX2" fmla="*/ 5003202 w 5006269"/>
              <a:gd name="connsiteY2" fmla="*/ 1117108 h 1128906"/>
              <a:gd name="connsiteX3" fmla="*/ 5006269 w 5006269"/>
              <a:gd name="connsiteY3" fmla="*/ 0 h 1128906"/>
              <a:gd name="connsiteX4" fmla="*/ 302635 w 5006269"/>
              <a:gd name="connsiteY4" fmla="*/ 8251 h 1128906"/>
              <a:gd name="connsiteX0" fmla="*/ 302635 w 5003220"/>
              <a:gd name="connsiteY0" fmla="*/ 8251 h 1128906"/>
              <a:gd name="connsiteX1" fmla="*/ 0 w 5003220"/>
              <a:gd name="connsiteY1" fmla="*/ 1128906 h 1128906"/>
              <a:gd name="connsiteX2" fmla="*/ 5003202 w 5003220"/>
              <a:gd name="connsiteY2" fmla="*/ 1117108 h 1128906"/>
              <a:gd name="connsiteX3" fmla="*/ 4025481 w 5003220"/>
              <a:gd name="connsiteY3" fmla="*/ 0 h 1128906"/>
              <a:gd name="connsiteX4" fmla="*/ 302635 w 5003220"/>
              <a:gd name="connsiteY4" fmla="*/ 8251 h 1128906"/>
              <a:gd name="connsiteX0" fmla="*/ 302635 w 4025482"/>
              <a:gd name="connsiteY0" fmla="*/ 8251 h 1128906"/>
              <a:gd name="connsiteX1" fmla="*/ 0 w 4025482"/>
              <a:gd name="connsiteY1" fmla="*/ 1128906 h 1128906"/>
              <a:gd name="connsiteX2" fmla="*/ 4022414 w 4025482"/>
              <a:gd name="connsiteY2" fmla="*/ 1123646 h 1128906"/>
              <a:gd name="connsiteX3" fmla="*/ 4025481 w 4025482"/>
              <a:gd name="connsiteY3" fmla="*/ 0 h 1128906"/>
              <a:gd name="connsiteX4" fmla="*/ 302635 w 4025482"/>
              <a:gd name="connsiteY4" fmla="*/ 8251 h 1128906"/>
              <a:gd name="connsiteX0" fmla="*/ 446485 w 4025481"/>
              <a:gd name="connsiteY0" fmla="*/ 0 h 1689512"/>
              <a:gd name="connsiteX1" fmla="*/ 0 w 4025481"/>
              <a:gd name="connsiteY1" fmla="*/ 1689512 h 1689512"/>
              <a:gd name="connsiteX2" fmla="*/ 4022414 w 4025481"/>
              <a:gd name="connsiteY2" fmla="*/ 1684252 h 1689512"/>
              <a:gd name="connsiteX3" fmla="*/ 4025481 w 4025481"/>
              <a:gd name="connsiteY3" fmla="*/ 560606 h 1689512"/>
              <a:gd name="connsiteX4" fmla="*/ 446485 w 4025481"/>
              <a:gd name="connsiteY4" fmla="*/ 0 h 1689512"/>
              <a:gd name="connsiteX0" fmla="*/ 446485 w 4023534"/>
              <a:gd name="connsiteY0" fmla="*/ 27866 h 1717378"/>
              <a:gd name="connsiteX1" fmla="*/ 0 w 4023534"/>
              <a:gd name="connsiteY1" fmla="*/ 1717378 h 1717378"/>
              <a:gd name="connsiteX2" fmla="*/ 4022414 w 4023534"/>
              <a:gd name="connsiteY2" fmla="*/ 1712118 h 1717378"/>
              <a:gd name="connsiteX3" fmla="*/ 4018943 w 4023534"/>
              <a:gd name="connsiteY3" fmla="*/ 0 h 1717378"/>
              <a:gd name="connsiteX4" fmla="*/ 446485 w 4023534"/>
              <a:gd name="connsiteY4" fmla="*/ 27866 h 1717378"/>
              <a:gd name="connsiteX0" fmla="*/ 446485 w 4023534"/>
              <a:gd name="connsiteY0" fmla="*/ 1712 h 1717378"/>
              <a:gd name="connsiteX1" fmla="*/ 0 w 4023534"/>
              <a:gd name="connsiteY1" fmla="*/ 1717378 h 1717378"/>
              <a:gd name="connsiteX2" fmla="*/ 4022414 w 4023534"/>
              <a:gd name="connsiteY2" fmla="*/ 1712118 h 1717378"/>
              <a:gd name="connsiteX3" fmla="*/ 4018943 w 4023534"/>
              <a:gd name="connsiteY3" fmla="*/ 0 h 1717378"/>
              <a:gd name="connsiteX4" fmla="*/ 446485 w 4023534"/>
              <a:gd name="connsiteY4" fmla="*/ 1712 h 1717378"/>
              <a:gd name="connsiteX0" fmla="*/ 0 w 4047827"/>
              <a:gd name="connsiteY0" fmla="*/ 1712 h 1717378"/>
              <a:gd name="connsiteX1" fmla="*/ 24293 w 4047827"/>
              <a:gd name="connsiteY1" fmla="*/ 1717378 h 1717378"/>
              <a:gd name="connsiteX2" fmla="*/ 4046707 w 4047827"/>
              <a:gd name="connsiteY2" fmla="*/ 1712118 h 1717378"/>
              <a:gd name="connsiteX3" fmla="*/ 4043236 w 4047827"/>
              <a:gd name="connsiteY3" fmla="*/ 0 h 1717378"/>
              <a:gd name="connsiteX4" fmla="*/ 0 w 4047827"/>
              <a:gd name="connsiteY4" fmla="*/ 1712 h 1717378"/>
              <a:gd name="connsiteX0" fmla="*/ 439947 w 4487774"/>
              <a:gd name="connsiteY0" fmla="*/ 1712 h 1717378"/>
              <a:gd name="connsiteX1" fmla="*/ 0 w 4487774"/>
              <a:gd name="connsiteY1" fmla="*/ 1717378 h 1717378"/>
              <a:gd name="connsiteX2" fmla="*/ 4486654 w 4487774"/>
              <a:gd name="connsiteY2" fmla="*/ 1712118 h 1717378"/>
              <a:gd name="connsiteX3" fmla="*/ 4483183 w 4487774"/>
              <a:gd name="connsiteY3" fmla="*/ 0 h 1717378"/>
              <a:gd name="connsiteX4" fmla="*/ 439947 w 4487774"/>
              <a:gd name="connsiteY4" fmla="*/ 1712 h 1717378"/>
              <a:gd name="connsiteX0" fmla="*/ 439947 w 4493992"/>
              <a:gd name="connsiteY0" fmla="*/ 1712 h 1717378"/>
              <a:gd name="connsiteX1" fmla="*/ 0 w 4493992"/>
              <a:gd name="connsiteY1" fmla="*/ 1717378 h 1717378"/>
              <a:gd name="connsiteX2" fmla="*/ 4493194 w 4493992"/>
              <a:gd name="connsiteY2" fmla="*/ 1267493 h 1717378"/>
              <a:gd name="connsiteX3" fmla="*/ 4483183 w 4493992"/>
              <a:gd name="connsiteY3" fmla="*/ 0 h 1717378"/>
              <a:gd name="connsiteX4" fmla="*/ 439947 w 4493992"/>
              <a:gd name="connsiteY4" fmla="*/ 1712 h 1717378"/>
              <a:gd name="connsiteX0" fmla="*/ 322253 w 4376298"/>
              <a:gd name="connsiteY0" fmla="*/ 1712 h 1267493"/>
              <a:gd name="connsiteX1" fmla="*/ 0 w 4376298"/>
              <a:gd name="connsiteY1" fmla="*/ 1253139 h 1267493"/>
              <a:gd name="connsiteX2" fmla="*/ 4375500 w 4376298"/>
              <a:gd name="connsiteY2" fmla="*/ 1267493 h 1267493"/>
              <a:gd name="connsiteX3" fmla="*/ 4365489 w 4376298"/>
              <a:gd name="connsiteY3" fmla="*/ 0 h 1267493"/>
              <a:gd name="connsiteX4" fmla="*/ 322253 w 4376298"/>
              <a:gd name="connsiteY4" fmla="*/ 1712 h 1267493"/>
              <a:gd name="connsiteX0" fmla="*/ 322253 w 4376298"/>
              <a:gd name="connsiteY0" fmla="*/ 1712 h 1267493"/>
              <a:gd name="connsiteX1" fmla="*/ 0 w 4376298"/>
              <a:gd name="connsiteY1" fmla="*/ 1259678 h 1267493"/>
              <a:gd name="connsiteX2" fmla="*/ 4375500 w 4376298"/>
              <a:gd name="connsiteY2" fmla="*/ 1267493 h 1267493"/>
              <a:gd name="connsiteX3" fmla="*/ 4365489 w 4376298"/>
              <a:gd name="connsiteY3" fmla="*/ 0 h 1267493"/>
              <a:gd name="connsiteX4" fmla="*/ 322253 w 4376298"/>
              <a:gd name="connsiteY4" fmla="*/ 1712 h 1267493"/>
              <a:gd name="connsiteX0" fmla="*/ 322253 w 4376298"/>
              <a:gd name="connsiteY0" fmla="*/ 1712 h 1272754"/>
              <a:gd name="connsiteX1" fmla="*/ 0 w 4376298"/>
              <a:gd name="connsiteY1" fmla="*/ 1272754 h 1272754"/>
              <a:gd name="connsiteX2" fmla="*/ 4375500 w 4376298"/>
              <a:gd name="connsiteY2" fmla="*/ 1267493 h 1272754"/>
              <a:gd name="connsiteX3" fmla="*/ 4365489 w 4376298"/>
              <a:gd name="connsiteY3" fmla="*/ 0 h 1272754"/>
              <a:gd name="connsiteX4" fmla="*/ 322253 w 4376298"/>
              <a:gd name="connsiteY4" fmla="*/ 1712 h 1272754"/>
              <a:gd name="connsiteX0" fmla="*/ 322253 w 4371261"/>
              <a:gd name="connsiteY0" fmla="*/ 1712 h 1272754"/>
              <a:gd name="connsiteX1" fmla="*/ 0 w 4371261"/>
              <a:gd name="connsiteY1" fmla="*/ 1272754 h 1272754"/>
              <a:gd name="connsiteX2" fmla="*/ 4370221 w 4371261"/>
              <a:gd name="connsiteY2" fmla="*/ 1269253 h 1272754"/>
              <a:gd name="connsiteX3" fmla="*/ 4365489 w 4371261"/>
              <a:gd name="connsiteY3" fmla="*/ 0 h 1272754"/>
              <a:gd name="connsiteX4" fmla="*/ 322253 w 437126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32811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32811 w 4370221"/>
              <a:gd name="connsiteY4" fmla="*/ 1712 h 1272754"/>
              <a:gd name="connsiteX0" fmla="*/ 0 w 4384034"/>
              <a:gd name="connsiteY0" fmla="*/ 1712 h 1272754"/>
              <a:gd name="connsiteX1" fmla="*/ 13813 w 4384034"/>
              <a:gd name="connsiteY1" fmla="*/ 1272754 h 1272754"/>
              <a:gd name="connsiteX2" fmla="*/ 4384034 w 4384034"/>
              <a:gd name="connsiteY2" fmla="*/ 1269253 h 1272754"/>
              <a:gd name="connsiteX3" fmla="*/ 4379302 w 4384034"/>
              <a:gd name="connsiteY3" fmla="*/ 0 h 1272754"/>
              <a:gd name="connsiteX4" fmla="*/ 0 w 4384034"/>
              <a:gd name="connsiteY4" fmla="*/ 1712 h 1272754"/>
              <a:gd name="connsiteX0" fmla="*/ 316976 w 4701010"/>
              <a:gd name="connsiteY0" fmla="*/ 1712 h 1272754"/>
              <a:gd name="connsiteX1" fmla="*/ 0 w 4701010"/>
              <a:gd name="connsiteY1" fmla="*/ 1272754 h 1272754"/>
              <a:gd name="connsiteX2" fmla="*/ 4701010 w 4701010"/>
              <a:gd name="connsiteY2" fmla="*/ 1269253 h 1272754"/>
              <a:gd name="connsiteX3" fmla="*/ 4696278 w 4701010"/>
              <a:gd name="connsiteY3" fmla="*/ 0 h 1272754"/>
              <a:gd name="connsiteX4" fmla="*/ 316976 w 4701010"/>
              <a:gd name="connsiteY4" fmla="*/ 1712 h 1272754"/>
              <a:gd name="connsiteX0" fmla="*/ 343369 w 4727403"/>
              <a:gd name="connsiteY0" fmla="*/ 1712 h 1274514"/>
              <a:gd name="connsiteX1" fmla="*/ 0 w 4727403"/>
              <a:gd name="connsiteY1" fmla="*/ 1274514 h 1274514"/>
              <a:gd name="connsiteX2" fmla="*/ 4727403 w 4727403"/>
              <a:gd name="connsiteY2" fmla="*/ 1269253 h 1274514"/>
              <a:gd name="connsiteX3" fmla="*/ 4722671 w 4727403"/>
              <a:gd name="connsiteY3" fmla="*/ 0 h 1274514"/>
              <a:gd name="connsiteX4" fmla="*/ 343369 w 4727403"/>
              <a:gd name="connsiteY4" fmla="*/ 1712 h 1274514"/>
              <a:gd name="connsiteX0" fmla="*/ 343369 w 4730922"/>
              <a:gd name="connsiteY0" fmla="*/ 1712 h 2022324"/>
              <a:gd name="connsiteX1" fmla="*/ 0 w 4730922"/>
              <a:gd name="connsiteY1" fmla="*/ 1274514 h 2022324"/>
              <a:gd name="connsiteX2" fmla="*/ 4730922 w 4730922"/>
              <a:gd name="connsiteY2" fmla="*/ 2022324 h 2022324"/>
              <a:gd name="connsiteX3" fmla="*/ 4722671 w 4730922"/>
              <a:gd name="connsiteY3" fmla="*/ 0 h 2022324"/>
              <a:gd name="connsiteX4" fmla="*/ 343369 w 4730922"/>
              <a:gd name="connsiteY4" fmla="*/ 1712 h 2022324"/>
              <a:gd name="connsiteX0" fmla="*/ 550992 w 4938545"/>
              <a:gd name="connsiteY0" fmla="*/ 1712 h 2038142"/>
              <a:gd name="connsiteX1" fmla="*/ 0 w 4938545"/>
              <a:gd name="connsiteY1" fmla="*/ 2038142 h 2038142"/>
              <a:gd name="connsiteX2" fmla="*/ 4938545 w 4938545"/>
              <a:gd name="connsiteY2" fmla="*/ 2022324 h 2038142"/>
              <a:gd name="connsiteX3" fmla="*/ 4930294 w 4938545"/>
              <a:gd name="connsiteY3" fmla="*/ 0 h 2038142"/>
              <a:gd name="connsiteX4" fmla="*/ 550992 w 4938545"/>
              <a:gd name="connsiteY4" fmla="*/ 1712 h 2038142"/>
              <a:gd name="connsiteX0" fmla="*/ 470050 w 4938545"/>
              <a:gd name="connsiteY0" fmla="*/ 1712 h 2038142"/>
              <a:gd name="connsiteX1" fmla="*/ 0 w 4938545"/>
              <a:gd name="connsiteY1" fmla="*/ 2038142 h 2038142"/>
              <a:gd name="connsiteX2" fmla="*/ 4938545 w 4938545"/>
              <a:gd name="connsiteY2" fmla="*/ 2022324 h 2038142"/>
              <a:gd name="connsiteX3" fmla="*/ 4930294 w 4938545"/>
              <a:gd name="connsiteY3" fmla="*/ 0 h 2038142"/>
              <a:gd name="connsiteX4" fmla="*/ 470050 w 4938545"/>
              <a:gd name="connsiteY4" fmla="*/ 1712 h 2038142"/>
              <a:gd name="connsiteX0" fmla="*/ 470050 w 5097979"/>
              <a:gd name="connsiteY0" fmla="*/ 8566 h 2044996"/>
              <a:gd name="connsiteX1" fmla="*/ 0 w 5097979"/>
              <a:gd name="connsiteY1" fmla="*/ 2044996 h 2044996"/>
              <a:gd name="connsiteX2" fmla="*/ 4938545 w 5097979"/>
              <a:gd name="connsiteY2" fmla="*/ 2029178 h 2044996"/>
              <a:gd name="connsiteX3" fmla="*/ 5097960 w 5097979"/>
              <a:gd name="connsiteY3" fmla="*/ 0 h 2044996"/>
              <a:gd name="connsiteX4" fmla="*/ 470050 w 5097979"/>
              <a:gd name="connsiteY4" fmla="*/ 8566 h 2044996"/>
              <a:gd name="connsiteX0" fmla="*/ 470050 w 5100430"/>
              <a:gd name="connsiteY0" fmla="*/ 8566 h 2044996"/>
              <a:gd name="connsiteX1" fmla="*/ 0 w 5100430"/>
              <a:gd name="connsiteY1" fmla="*/ 2044996 h 2044996"/>
              <a:gd name="connsiteX2" fmla="*/ 5100430 w 5100430"/>
              <a:gd name="connsiteY2" fmla="*/ 2029178 h 2044996"/>
              <a:gd name="connsiteX3" fmla="*/ 5097960 w 5100430"/>
              <a:gd name="connsiteY3" fmla="*/ 0 h 2044996"/>
              <a:gd name="connsiteX4" fmla="*/ 470050 w 5100430"/>
              <a:gd name="connsiteY4" fmla="*/ 8566 h 2044996"/>
              <a:gd name="connsiteX0" fmla="*/ 348636 w 4979016"/>
              <a:gd name="connsiteY0" fmla="*/ 8566 h 2029178"/>
              <a:gd name="connsiteX1" fmla="*/ 0 w 4979016"/>
              <a:gd name="connsiteY1" fmla="*/ 1613242 h 2029178"/>
              <a:gd name="connsiteX2" fmla="*/ 4979016 w 4979016"/>
              <a:gd name="connsiteY2" fmla="*/ 2029178 h 2029178"/>
              <a:gd name="connsiteX3" fmla="*/ 4976546 w 4979016"/>
              <a:gd name="connsiteY3" fmla="*/ 0 h 2029178"/>
              <a:gd name="connsiteX4" fmla="*/ 348636 w 4979016"/>
              <a:gd name="connsiteY4" fmla="*/ 8566 h 2029178"/>
              <a:gd name="connsiteX0" fmla="*/ 348636 w 4976855"/>
              <a:gd name="connsiteY0" fmla="*/ 8566 h 1613242"/>
              <a:gd name="connsiteX1" fmla="*/ 0 w 4976855"/>
              <a:gd name="connsiteY1" fmla="*/ 1613242 h 1613242"/>
              <a:gd name="connsiteX2" fmla="*/ 4973235 w 4976855"/>
              <a:gd name="connsiteY2" fmla="*/ 1611131 h 1613242"/>
              <a:gd name="connsiteX3" fmla="*/ 4976546 w 4976855"/>
              <a:gd name="connsiteY3" fmla="*/ 0 h 1613242"/>
              <a:gd name="connsiteX4" fmla="*/ 348636 w 4976855"/>
              <a:gd name="connsiteY4" fmla="*/ 8566 h 1613242"/>
              <a:gd name="connsiteX0" fmla="*/ 6798 w 4976855"/>
              <a:gd name="connsiteY0" fmla="*/ 0 h 1616249"/>
              <a:gd name="connsiteX1" fmla="*/ 0 w 4976855"/>
              <a:gd name="connsiteY1" fmla="*/ 1616249 h 1616249"/>
              <a:gd name="connsiteX2" fmla="*/ 4973235 w 4976855"/>
              <a:gd name="connsiteY2" fmla="*/ 1614138 h 1616249"/>
              <a:gd name="connsiteX3" fmla="*/ 4976546 w 4976855"/>
              <a:gd name="connsiteY3" fmla="*/ 3007 h 1616249"/>
              <a:gd name="connsiteX4" fmla="*/ 6798 w 4976855"/>
              <a:gd name="connsiteY4" fmla="*/ 0 h 1616249"/>
              <a:gd name="connsiteX0" fmla="*/ 265164 w 5235221"/>
              <a:gd name="connsiteY0" fmla="*/ 0 h 1614138"/>
              <a:gd name="connsiteX1" fmla="*/ 0 w 5235221"/>
              <a:gd name="connsiteY1" fmla="*/ 1610462 h 1614138"/>
              <a:gd name="connsiteX2" fmla="*/ 5231601 w 5235221"/>
              <a:gd name="connsiteY2" fmla="*/ 1614138 h 1614138"/>
              <a:gd name="connsiteX3" fmla="*/ 5234912 w 5235221"/>
              <a:gd name="connsiteY3" fmla="*/ 3007 h 1614138"/>
              <a:gd name="connsiteX4" fmla="*/ 265164 w 5235221"/>
              <a:gd name="connsiteY4" fmla="*/ 0 h 1614138"/>
              <a:gd name="connsiteX0" fmla="*/ 285038 w 5255095"/>
              <a:gd name="connsiteY0" fmla="*/ 0 h 1614138"/>
              <a:gd name="connsiteX1" fmla="*/ 0 w 5255095"/>
              <a:gd name="connsiteY1" fmla="*/ 1598888 h 1614138"/>
              <a:gd name="connsiteX2" fmla="*/ 5251475 w 5255095"/>
              <a:gd name="connsiteY2" fmla="*/ 1614138 h 1614138"/>
              <a:gd name="connsiteX3" fmla="*/ 5254786 w 5255095"/>
              <a:gd name="connsiteY3" fmla="*/ 3007 h 1614138"/>
              <a:gd name="connsiteX4" fmla="*/ 285038 w 5255095"/>
              <a:gd name="connsiteY4" fmla="*/ 0 h 1614138"/>
              <a:gd name="connsiteX0" fmla="*/ 265164 w 5235221"/>
              <a:gd name="connsiteY0" fmla="*/ 0 h 1614138"/>
              <a:gd name="connsiteX1" fmla="*/ 0 w 5235221"/>
              <a:gd name="connsiteY1" fmla="*/ 1604675 h 1614138"/>
              <a:gd name="connsiteX2" fmla="*/ 5231601 w 5235221"/>
              <a:gd name="connsiteY2" fmla="*/ 1614138 h 1614138"/>
              <a:gd name="connsiteX3" fmla="*/ 5234912 w 5235221"/>
              <a:gd name="connsiteY3" fmla="*/ 3007 h 1614138"/>
              <a:gd name="connsiteX4" fmla="*/ 265164 w 5235221"/>
              <a:gd name="connsiteY4" fmla="*/ 0 h 1614138"/>
              <a:gd name="connsiteX0" fmla="*/ 292988 w 5263045"/>
              <a:gd name="connsiteY0" fmla="*/ 0 h 1614138"/>
              <a:gd name="connsiteX1" fmla="*/ 0 w 5263045"/>
              <a:gd name="connsiteY1" fmla="*/ 1610462 h 1614138"/>
              <a:gd name="connsiteX2" fmla="*/ 5259425 w 5263045"/>
              <a:gd name="connsiteY2" fmla="*/ 1614138 h 1614138"/>
              <a:gd name="connsiteX3" fmla="*/ 5262736 w 5263045"/>
              <a:gd name="connsiteY3" fmla="*/ 3007 h 1614138"/>
              <a:gd name="connsiteX4" fmla="*/ 292988 w 5263045"/>
              <a:gd name="connsiteY4" fmla="*/ 0 h 1614138"/>
              <a:gd name="connsiteX0" fmla="*/ 292988 w 8096190"/>
              <a:gd name="connsiteY0" fmla="*/ 0 h 1614138"/>
              <a:gd name="connsiteX1" fmla="*/ 0 w 8096190"/>
              <a:gd name="connsiteY1" fmla="*/ 1610462 h 1614138"/>
              <a:gd name="connsiteX2" fmla="*/ 8096190 w 8096190"/>
              <a:gd name="connsiteY2" fmla="*/ 1614138 h 1614138"/>
              <a:gd name="connsiteX3" fmla="*/ 5262736 w 8096190"/>
              <a:gd name="connsiteY3" fmla="*/ 3007 h 1614138"/>
              <a:gd name="connsiteX4" fmla="*/ 292988 w 8096190"/>
              <a:gd name="connsiteY4" fmla="*/ 0 h 1614138"/>
              <a:gd name="connsiteX0" fmla="*/ 292988 w 8096190"/>
              <a:gd name="connsiteY0" fmla="*/ 9248 h 1623386"/>
              <a:gd name="connsiteX1" fmla="*/ 0 w 8096190"/>
              <a:gd name="connsiteY1" fmla="*/ 1619710 h 1623386"/>
              <a:gd name="connsiteX2" fmla="*/ 8096190 w 8096190"/>
              <a:gd name="connsiteY2" fmla="*/ 1623386 h 1623386"/>
              <a:gd name="connsiteX3" fmla="*/ 8091085 w 8096190"/>
              <a:gd name="connsiteY3" fmla="*/ 0 h 1623386"/>
              <a:gd name="connsiteX4" fmla="*/ 292988 w 8096190"/>
              <a:gd name="connsiteY4" fmla="*/ 9248 h 1623386"/>
              <a:gd name="connsiteX0" fmla="*/ 292988 w 8096190"/>
              <a:gd name="connsiteY0" fmla="*/ 0 h 1614138"/>
              <a:gd name="connsiteX1" fmla="*/ 0 w 8096190"/>
              <a:gd name="connsiteY1" fmla="*/ 1610462 h 1614138"/>
              <a:gd name="connsiteX2" fmla="*/ 8096190 w 8096190"/>
              <a:gd name="connsiteY2" fmla="*/ 1614138 h 1614138"/>
              <a:gd name="connsiteX3" fmla="*/ 8082667 w 8096190"/>
              <a:gd name="connsiteY3" fmla="*/ 15264 h 1614138"/>
              <a:gd name="connsiteX4" fmla="*/ 292988 w 8096190"/>
              <a:gd name="connsiteY4" fmla="*/ 0 h 1614138"/>
              <a:gd name="connsiteX0" fmla="*/ 292988 w 8476493"/>
              <a:gd name="connsiteY0" fmla="*/ 0 h 1614138"/>
              <a:gd name="connsiteX1" fmla="*/ 0 w 8476493"/>
              <a:gd name="connsiteY1" fmla="*/ 1610462 h 1614138"/>
              <a:gd name="connsiteX2" fmla="*/ 8096190 w 8476493"/>
              <a:gd name="connsiteY2" fmla="*/ 1614138 h 1614138"/>
              <a:gd name="connsiteX3" fmla="*/ 8476485 w 8476493"/>
              <a:gd name="connsiteY3" fmla="*/ 15265 h 1614138"/>
              <a:gd name="connsiteX4" fmla="*/ 292988 w 8476493"/>
              <a:gd name="connsiteY4" fmla="*/ 0 h 1614138"/>
              <a:gd name="connsiteX0" fmla="*/ 292988 w 8490007"/>
              <a:gd name="connsiteY0" fmla="*/ 0 h 1610463"/>
              <a:gd name="connsiteX1" fmla="*/ 0 w 8490007"/>
              <a:gd name="connsiteY1" fmla="*/ 1610462 h 1610463"/>
              <a:gd name="connsiteX2" fmla="*/ 8490007 w 8490007"/>
              <a:gd name="connsiteY2" fmla="*/ 1588654 h 1610463"/>
              <a:gd name="connsiteX3" fmla="*/ 8476485 w 8490007"/>
              <a:gd name="connsiteY3" fmla="*/ 15265 h 1610463"/>
              <a:gd name="connsiteX4" fmla="*/ 292988 w 8490007"/>
              <a:gd name="connsiteY4" fmla="*/ 0 h 1610463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15265 h 1610462"/>
              <a:gd name="connsiteX4" fmla="*/ 292988 w 8481255"/>
              <a:gd name="connsiteY4" fmla="*/ 0 h 1610462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15265 h 1610462"/>
              <a:gd name="connsiteX4" fmla="*/ 292988 w 8481255"/>
              <a:gd name="connsiteY4" fmla="*/ 0 h 1610462"/>
              <a:gd name="connsiteX0" fmla="*/ 292988 w 8481255"/>
              <a:gd name="connsiteY0" fmla="*/ 10218 h 1620680"/>
              <a:gd name="connsiteX1" fmla="*/ 0 w 8481255"/>
              <a:gd name="connsiteY1" fmla="*/ 1620680 h 1620680"/>
              <a:gd name="connsiteX2" fmla="*/ 8481255 w 8481255"/>
              <a:gd name="connsiteY2" fmla="*/ 1598873 h 1620680"/>
              <a:gd name="connsiteX3" fmla="*/ 8476485 w 8481255"/>
              <a:gd name="connsiteY3" fmla="*/ 0 h 1620680"/>
              <a:gd name="connsiteX4" fmla="*/ 292988 w 8481255"/>
              <a:gd name="connsiteY4" fmla="*/ 10218 h 1620680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2524 h 1610462"/>
              <a:gd name="connsiteX4" fmla="*/ 292988 w 8481255"/>
              <a:gd name="connsiteY4" fmla="*/ 0 h 1610462"/>
              <a:gd name="connsiteX0" fmla="*/ 292988 w 8476598"/>
              <a:gd name="connsiteY0" fmla="*/ 0 h 1610462"/>
              <a:gd name="connsiteX1" fmla="*/ 0 w 8476598"/>
              <a:gd name="connsiteY1" fmla="*/ 1610462 h 1610462"/>
              <a:gd name="connsiteX2" fmla="*/ 8455001 w 8476598"/>
              <a:gd name="connsiteY2" fmla="*/ 1601397 h 1610462"/>
              <a:gd name="connsiteX3" fmla="*/ 8476485 w 8476598"/>
              <a:gd name="connsiteY3" fmla="*/ 2524 h 1610462"/>
              <a:gd name="connsiteX4" fmla="*/ 292988 w 8476598"/>
              <a:gd name="connsiteY4" fmla="*/ 0 h 1610462"/>
              <a:gd name="connsiteX0" fmla="*/ 292988 w 8481256"/>
              <a:gd name="connsiteY0" fmla="*/ 0 h 1610462"/>
              <a:gd name="connsiteX1" fmla="*/ 0 w 8481256"/>
              <a:gd name="connsiteY1" fmla="*/ 1610462 h 1610462"/>
              <a:gd name="connsiteX2" fmla="*/ 8481256 w 8481256"/>
              <a:gd name="connsiteY2" fmla="*/ 1588655 h 1610462"/>
              <a:gd name="connsiteX3" fmla="*/ 8476485 w 8481256"/>
              <a:gd name="connsiteY3" fmla="*/ 2524 h 1610462"/>
              <a:gd name="connsiteX4" fmla="*/ 292988 w 8481256"/>
              <a:gd name="connsiteY4" fmla="*/ 0 h 1610462"/>
              <a:gd name="connsiteX0" fmla="*/ 292988 w 8481256"/>
              <a:gd name="connsiteY0" fmla="*/ 0 h 1626879"/>
              <a:gd name="connsiteX1" fmla="*/ 0 w 8481256"/>
              <a:gd name="connsiteY1" fmla="*/ 1610462 h 1626879"/>
              <a:gd name="connsiteX2" fmla="*/ 8481256 w 8481256"/>
              <a:gd name="connsiteY2" fmla="*/ 1626879 h 1626879"/>
              <a:gd name="connsiteX3" fmla="*/ 8476485 w 8481256"/>
              <a:gd name="connsiteY3" fmla="*/ 2524 h 1626879"/>
              <a:gd name="connsiteX4" fmla="*/ 292988 w 8481256"/>
              <a:gd name="connsiteY4" fmla="*/ 0 h 1626879"/>
              <a:gd name="connsiteX0" fmla="*/ 292988 w 8481256"/>
              <a:gd name="connsiteY0" fmla="*/ 0 h 1626879"/>
              <a:gd name="connsiteX1" fmla="*/ 0 w 8481256"/>
              <a:gd name="connsiteY1" fmla="*/ 1610462 h 1626879"/>
              <a:gd name="connsiteX2" fmla="*/ 8481256 w 8481256"/>
              <a:gd name="connsiteY2" fmla="*/ 1626879 h 1626879"/>
              <a:gd name="connsiteX3" fmla="*/ 8476485 w 8481256"/>
              <a:gd name="connsiteY3" fmla="*/ 2524 h 1626879"/>
              <a:gd name="connsiteX4" fmla="*/ 292988 w 8481256"/>
              <a:gd name="connsiteY4" fmla="*/ 0 h 1626879"/>
              <a:gd name="connsiteX0" fmla="*/ 292988 w 8481256"/>
              <a:gd name="connsiteY0" fmla="*/ 0 h 1614137"/>
              <a:gd name="connsiteX1" fmla="*/ 0 w 8481256"/>
              <a:gd name="connsiteY1" fmla="*/ 1610462 h 1614137"/>
              <a:gd name="connsiteX2" fmla="*/ 8481256 w 8481256"/>
              <a:gd name="connsiteY2" fmla="*/ 1614137 h 1614137"/>
              <a:gd name="connsiteX3" fmla="*/ 8476485 w 8481256"/>
              <a:gd name="connsiteY3" fmla="*/ 2524 h 1614137"/>
              <a:gd name="connsiteX4" fmla="*/ 292988 w 8481256"/>
              <a:gd name="connsiteY4" fmla="*/ 0 h 1614137"/>
              <a:gd name="connsiteX0" fmla="*/ 292988 w 8809051"/>
              <a:gd name="connsiteY0" fmla="*/ 10218 h 1624355"/>
              <a:gd name="connsiteX1" fmla="*/ 0 w 8809051"/>
              <a:gd name="connsiteY1" fmla="*/ 1620680 h 1624355"/>
              <a:gd name="connsiteX2" fmla="*/ 8481256 w 8809051"/>
              <a:gd name="connsiteY2" fmla="*/ 1624355 h 1624355"/>
              <a:gd name="connsiteX3" fmla="*/ 8809042 w 8809051"/>
              <a:gd name="connsiteY3" fmla="*/ 0 h 1624355"/>
              <a:gd name="connsiteX4" fmla="*/ 292988 w 8809051"/>
              <a:gd name="connsiteY4" fmla="*/ 10218 h 1624355"/>
              <a:gd name="connsiteX0" fmla="*/ 292988 w 8822565"/>
              <a:gd name="connsiteY0" fmla="*/ 10218 h 1624355"/>
              <a:gd name="connsiteX1" fmla="*/ 0 w 8822565"/>
              <a:gd name="connsiteY1" fmla="*/ 1620680 h 1624355"/>
              <a:gd name="connsiteX2" fmla="*/ 8822565 w 8822565"/>
              <a:gd name="connsiteY2" fmla="*/ 1624355 h 1624355"/>
              <a:gd name="connsiteX3" fmla="*/ 8809042 w 8822565"/>
              <a:gd name="connsiteY3" fmla="*/ 0 h 1624355"/>
              <a:gd name="connsiteX4" fmla="*/ 292988 w 8822565"/>
              <a:gd name="connsiteY4" fmla="*/ 10218 h 1624355"/>
              <a:gd name="connsiteX0" fmla="*/ 292988 w 8813267"/>
              <a:gd name="connsiteY0" fmla="*/ 10218 h 1631123"/>
              <a:gd name="connsiteX1" fmla="*/ 0 w 8813267"/>
              <a:gd name="connsiteY1" fmla="*/ 1620680 h 1631123"/>
              <a:gd name="connsiteX2" fmla="*/ 8813267 w 8813267"/>
              <a:gd name="connsiteY2" fmla="*/ 1631123 h 1631123"/>
              <a:gd name="connsiteX3" fmla="*/ 8809042 w 8813267"/>
              <a:gd name="connsiteY3" fmla="*/ 0 h 1631123"/>
              <a:gd name="connsiteX4" fmla="*/ 292988 w 8813267"/>
              <a:gd name="connsiteY4" fmla="*/ 10218 h 1631123"/>
              <a:gd name="connsiteX0" fmla="*/ 292988 w 8813267"/>
              <a:gd name="connsiteY0" fmla="*/ 10218 h 1631123"/>
              <a:gd name="connsiteX1" fmla="*/ 0 w 8813267"/>
              <a:gd name="connsiteY1" fmla="*/ 1620680 h 1631123"/>
              <a:gd name="connsiteX2" fmla="*/ 8813267 w 8813267"/>
              <a:gd name="connsiteY2" fmla="*/ 1631123 h 1631123"/>
              <a:gd name="connsiteX3" fmla="*/ 8795095 w 8813267"/>
              <a:gd name="connsiteY3" fmla="*/ 0 h 1631123"/>
              <a:gd name="connsiteX4" fmla="*/ 292988 w 8813267"/>
              <a:gd name="connsiteY4" fmla="*/ 10218 h 1631123"/>
              <a:gd name="connsiteX0" fmla="*/ 292988 w 8799320"/>
              <a:gd name="connsiteY0" fmla="*/ 10218 h 1624355"/>
              <a:gd name="connsiteX1" fmla="*/ 0 w 8799320"/>
              <a:gd name="connsiteY1" fmla="*/ 1620680 h 1624355"/>
              <a:gd name="connsiteX2" fmla="*/ 8799320 w 8799320"/>
              <a:gd name="connsiteY2" fmla="*/ 1624355 h 1624355"/>
              <a:gd name="connsiteX3" fmla="*/ 8795095 w 8799320"/>
              <a:gd name="connsiteY3" fmla="*/ 0 h 1624355"/>
              <a:gd name="connsiteX4" fmla="*/ 292988 w 8799320"/>
              <a:gd name="connsiteY4" fmla="*/ 10218 h 1624355"/>
              <a:gd name="connsiteX0" fmla="*/ 292988 w 9113577"/>
              <a:gd name="connsiteY0" fmla="*/ 6834 h 1620971"/>
              <a:gd name="connsiteX1" fmla="*/ 0 w 9113577"/>
              <a:gd name="connsiteY1" fmla="*/ 1617296 h 1620971"/>
              <a:gd name="connsiteX2" fmla="*/ 8799320 w 9113577"/>
              <a:gd name="connsiteY2" fmla="*/ 1620971 h 1620971"/>
              <a:gd name="connsiteX3" fmla="*/ 9113567 w 9113577"/>
              <a:gd name="connsiteY3" fmla="*/ 0 h 1620971"/>
              <a:gd name="connsiteX4" fmla="*/ 292988 w 9113577"/>
              <a:gd name="connsiteY4" fmla="*/ 6834 h 1620971"/>
              <a:gd name="connsiteX0" fmla="*/ 292988 w 9113997"/>
              <a:gd name="connsiteY0" fmla="*/ 6834 h 1624355"/>
              <a:gd name="connsiteX1" fmla="*/ 0 w 9113997"/>
              <a:gd name="connsiteY1" fmla="*/ 1617296 h 1624355"/>
              <a:gd name="connsiteX2" fmla="*/ 9113144 w 9113997"/>
              <a:gd name="connsiteY2" fmla="*/ 1624355 h 1624355"/>
              <a:gd name="connsiteX3" fmla="*/ 9113567 w 9113997"/>
              <a:gd name="connsiteY3" fmla="*/ 0 h 1624355"/>
              <a:gd name="connsiteX4" fmla="*/ 292988 w 9113997"/>
              <a:gd name="connsiteY4" fmla="*/ 6834 h 1624355"/>
              <a:gd name="connsiteX0" fmla="*/ 292988 w 9420427"/>
              <a:gd name="connsiteY0" fmla="*/ 2321 h 1619842"/>
              <a:gd name="connsiteX1" fmla="*/ 0 w 9420427"/>
              <a:gd name="connsiteY1" fmla="*/ 1612783 h 1619842"/>
              <a:gd name="connsiteX2" fmla="*/ 9113144 w 9420427"/>
              <a:gd name="connsiteY2" fmla="*/ 1619842 h 1619842"/>
              <a:gd name="connsiteX3" fmla="*/ 9420417 w 9420427"/>
              <a:gd name="connsiteY3" fmla="*/ 0 h 1619842"/>
              <a:gd name="connsiteX4" fmla="*/ 292988 w 9420427"/>
              <a:gd name="connsiteY4" fmla="*/ 2321 h 1619842"/>
              <a:gd name="connsiteX0" fmla="*/ 292988 w 9426193"/>
              <a:gd name="connsiteY0" fmla="*/ 2321 h 1612782"/>
              <a:gd name="connsiteX1" fmla="*/ 0 w 9426193"/>
              <a:gd name="connsiteY1" fmla="*/ 1612783 h 1612782"/>
              <a:gd name="connsiteX2" fmla="*/ 9426193 w 9426193"/>
              <a:gd name="connsiteY2" fmla="*/ 1610817 h 1612782"/>
              <a:gd name="connsiteX3" fmla="*/ 9420417 w 9426193"/>
              <a:gd name="connsiteY3" fmla="*/ 0 h 1612782"/>
              <a:gd name="connsiteX4" fmla="*/ 292988 w 9426193"/>
              <a:gd name="connsiteY4" fmla="*/ 2321 h 1612782"/>
              <a:gd name="connsiteX0" fmla="*/ 292988 w 9426193"/>
              <a:gd name="connsiteY0" fmla="*/ 2321 h 1612783"/>
              <a:gd name="connsiteX1" fmla="*/ 0 w 9426193"/>
              <a:gd name="connsiteY1" fmla="*/ 1612783 h 1612783"/>
              <a:gd name="connsiteX2" fmla="*/ 9426193 w 9426193"/>
              <a:gd name="connsiteY2" fmla="*/ 1610817 h 1612783"/>
              <a:gd name="connsiteX3" fmla="*/ 9423516 w 9426193"/>
              <a:gd name="connsiteY3" fmla="*/ 0 h 1612783"/>
              <a:gd name="connsiteX4" fmla="*/ 292988 w 9426193"/>
              <a:gd name="connsiteY4" fmla="*/ 2321 h 1612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26193" h="1612783">
                <a:moveTo>
                  <a:pt x="292988" y="2321"/>
                </a:moveTo>
                <a:lnTo>
                  <a:pt x="0" y="1612783"/>
                </a:lnTo>
                <a:lnTo>
                  <a:pt x="9426193" y="1610817"/>
                </a:lnTo>
                <a:cubicBezTo>
                  <a:pt x="9422351" y="697378"/>
                  <a:pt x="9425598" y="1216075"/>
                  <a:pt x="9423516" y="0"/>
                </a:cubicBezTo>
                <a:lnTo>
                  <a:pt x="292988" y="232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70" dirty="0"/>
          </a:p>
        </p:txBody>
      </p:sp>
      <p:sp>
        <p:nvSpPr>
          <p:cNvPr id="95" name="Dowolny kształt: kształt 94">
            <a:extLst>
              <a:ext uri="{FF2B5EF4-FFF2-40B4-BE49-F238E27FC236}">
                <a16:creationId xmlns:a16="http://schemas.microsoft.com/office/drawing/2014/main" id="{87B75E8A-0F07-E38C-6281-AB6D5517D038}"/>
              </a:ext>
            </a:extLst>
          </p:cNvPr>
          <p:cNvSpPr>
            <a:spLocks/>
          </p:cNvSpPr>
          <p:nvPr/>
        </p:nvSpPr>
        <p:spPr>
          <a:xfrm>
            <a:off x="6263465" y="3990106"/>
            <a:ext cx="9336032" cy="1142874"/>
          </a:xfrm>
          <a:custGeom>
            <a:avLst/>
            <a:gdLst>
              <a:gd name="connsiteX0" fmla="*/ 1760483 w 5507421"/>
              <a:gd name="connsiteY0" fmla="*/ 0 h 6516414"/>
              <a:gd name="connsiteX1" fmla="*/ 0 w 5507421"/>
              <a:gd name="connsiteY1" fmla="*/ 6516414 h 6516414"/>
              <a:gd name="connsiteX2" fmla="*/ 3783724 w 5507421"/>
              <a:gd name="connsiteY2" fmla="*/ 6516414 h 6516414"/>
              <a:gd name="connsiteX3" fmla="*/ 5507421 w 5507421"/>
              <a:gd name="connsiteY3" fmla="*/ 47297 h 6516414"/>
              <a:gd name="connsiteX4" fmla="*/ 1760483 w 5507421"/>
              <a:gd name="connsiteY4" fmla="*/ 0 h 6516414"/>
              <a:gd name="connsiteX0" fmla="*/ 1735770 w 5507421"/>
              <a:gd name="connsiteY0" fmla="*/ 14487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735770 w 5507421"/>
              <a:gd name="connsiteY4" fmla="*/ 14487 h 6469117"/>
              <a:gd name="connsiteX0" fmla="*/ 1741948 w 5507421"/>
              <a:gd name="connsiteY0" fmla="*/ 8308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741948 w 5507421"/>
              <a:gd name="connsiteY4" fmla="*/ 8308 h 6469117"/>
              <a:gd name="connsiteX0" fmla="*/ 1605546 w 5507421"/>
              <a:gd name="connsiteY0" fmla="*/ 493293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605546 w 5507421"/>
              <a:gd name="connsiteY4" fmla="*/ 493293 h 6469117"/>
              <a:gd name="connsiteX0" fmla="*/ 1605546 w 5360915"/>
              <a:gd name="connsiteY0" fmla="*/ 0 h 5975824"/>
              <a:gd name="connsiteX1" fmla="*/ 0 w 5360915"/>
              <a:gd name="connsiteY1" fmla="*/ 5975824 h 5975824"/>
              <a:gd name="connsiteX2" fmla="*/ 3783724 w 5360915"/>
              <a:gd name="connsiteY2" fmla="*/ 5975824 h 5975824"/>
              <a:gd name="connsiteX3" fmla="*/ 5360915 w 5360915"/>
              <a:gd name="connsiteY3" fmla="*/ 11901 h 5975824"/>
              <a:gd name="connsiteX4" fmla="*/ 1605546 w 5360915"/>
              <a:gd name="connsiteY4" fmla="*/ 0 h 5975824"/>
              <a:gd name="connsiteX0" fmla="*/ 857859 w 5360915"/>
              <a:gd name="connsiteY0" fmla="*/ 0 h 5970772"/>
              <a:gd name="connsiteX1" fmla="*/ 0 w 5360915"/>
              <a:gd name="connsiteY1" fmla="*/ 5970772 h 5970772"/>
              <a:gd name="connsiteX2" fmla="*/ 3783724 w 5360915"/>
              <a:gd name="connsiteY2" fmla="*/ 5970772 h 5970772"/>
              <a:gd name="connsiteX3" fmla="*/ 5360915 w 5360915"/>
              <a:gd name="connsiteY3" fmla="*/ 6849 h 5970772"/>
              <a:gd name="connsiteX4" fmla="*/ 857859 w 5360915"/>
              <a:gd name="connsiteY4" fmla="*/ 0 h 5970772"/>
              <a:gd name="connsiteX0" fmla="*/ 1600493 w 6103549"/>
              <a:gd name="connsiteY0" fmla="*/ 0 h 5975824"/>
              <a:gd name="connsiteX1" fmla="*/ 0 w 6103549"/>
              <a:gd name="connsiteY1" fmla="*/ 5975824 h 5975824"/>
              <a:gd name="connsiteX2" fmla="*/ 4526358 w 6103549"/>
              <a:gd name="connsiteY2" fmla="*/ 5970772 h 5975824"/>
              <a:gd name="connsiteX3" fmla="*/ 6103549 w 6103549"/>
              <a:gd name="connsiteY3" fmla="*/ 6849 h 5975824"/>
              <a:gd name="connsiteX4" fmla="*/ 1600493 w 6103549"/>
              <a:gd name="connsiteY4" fmla="*/ 0 h 5975824"/>
              <a:gd name="connsiteX0" fmla="*/ 1600493 w 6103549"/>
              <a:gd name="connsiteY0" fmla="*/ 0 h 5975824"/>
              <a:gd name="connsiteX1" fmla="*/ 0 w 6103549"/>
              <a:gd name="connsiteY1" fmla="*/ 5975824 h 5975824"/>
              <a:gd name="connsiteX2" fmla="*/ 5334667 w 6103549"/>
              <a:gd name="connsiteY2" fmla="*/ 5975824 h 5975824"/>
              <a:gd name="connsiteX3" fmla="*/ 6103549 w 6103549"/>
              <a:gd name="connsiteY3" fmla="*/ 6849 h 5975824"/>
              <a:gd name="connsiteX4" fmla="*/ 1600493 w 6103549"/>
              <a:gd name="connsiteY4" fmla="*/ 0 h 5975824"/>
              <a:gd name="connsiteX0" fmla="*/ 1600493 w 6947222"/>
              <a:gd name="connsiteY0" fmla="*/ 0 h 5975824"/>
              <a:gd name="connsiteX1" fmla="*/ 0 w 6947222"/>
              <a:gd name="connsiteY1" fmla="*/ 5975824 h 5975824"/>
              <a:gd name="connsiteX2" fmla="*/ 5334667 w 6947222"/>
              <a:gd name="connsiteY2" fmla="*/ 5975824 h 5975824"/>
              <a:gd name="connsiteX3" fmla="*/ 6947222 w 6947222"/>
              <a:gd name="connsiteY3" fmla="*/ 1797 h 5975824"/>
              <a:gd name="connsiteX4" fmla="*/ 1600493 w 6947222"/>
              <a:gd name="connsiteY4" fmla="*/ 0 h 5975824"/>
              <a:gd name="connsiteX0" fmla="*/ 1600493 w 7017561"/>
              <a:gd name="connsiteY0" fmla="*/ 0 h 5975824"/>
              <a:gd name="connsiteX1" fmla="*/ 0 w 7017561"/>
              <a:gd name="connsiteY1" fmla="*/ 5975824 h 5975824"/>
              <a:gd name="connsiteX2" fmla="*/ 5334667 w 7017561"/>
              <a:gd name="connsiteY2" fmla="*/ 5975824 h 5975824"/>
              <a:gd name="connsiteX3" fmla="*/ 7017561 w 7017561"/>
              <a:gd name="connsiteY3" fmla="*/ 1797 h 5975824"/>
              <a:gd name="connsiteX4" fmla="*/ 1600493 w 7017561"/>
              <a:gd name="connsiteY4" fmla="*/ 0 h 5975824"/>
              <a:gd name="connsiteX0" fmla="*/ 1600493 w 7017561"/>
              <a:gd name="connsiteY0" fmla="*/ 0 h 5975824"/>
              <a:gd name="connsiteX1" fmla="*/ 0 w 7017561"/>
              <a:gd name="connsiteY1" fmla="*/ 5975824 h 5975824"/>
              <a:gd name="connsiteX2" fmla="*/ 7007718 w 7017561"/>
              <a:gd name="connsiteY2" fmla="*/ 5975824 h 5975824"/>
              <a:gd name="connsiteX3" fmla="*/ 7017561 w 7017561"/>
              <a:gd name="connsiteY3" fmla="*/ 1797 h 5975824"/>
              <a:gd name="connsiteX4" fmla="*/ 1600493 w 7017561"/>
              <a:gd name="connsiteY4" fmla="*/ 0 h 5975824"/>
              <a:gd name="connsiteX0" fmla="*/ 1600493 w 7007718"/>
              <a:gd name="connsiteY0" fmla="*/ 0 h 5975824"/>
              <a:gd name="connsiteX1" fmla="*/ 0 w 7007718"/>
              <a:gd name="connsiteY1" fmla="*/ 5975824 h 5975824"/>
              <a:gd name="connsiteX2" fmla="*/ 7007718 w 7007718"/>
              <a:gd name="connsiteY2" fmla="*/ 5975824 h 5975824"/>
              <a:gd name="connsiteX3" fmla="*/ 6309152 w 7007718"/>
              <a:gd name="connsiteY3" fmla="*/ 21894 h 5975824"/>
              <a:gd name="connsiteX4" fmla="*/ 1600493 w 7007718"/>
              <a:gd name="connsiteY4" fmla="*/ 0 h 5975824"/>
              <a:gd name="connsiteX0" fmla="*/ 1600493 w 6309152"/>
              <a:gd name="connsiteY0" fmla="*/ 0 h 5975824"/>
              <a:gd name="connsiteX1" fmla="*/ 0 w 6309152"/>
              <a:gd name="connsiteY1" fmla="*/ 5975824 h 5975824"/>
              <a:gd name="connsiteX2" fmla="*/ 6294285 w 6309152"/>
              <a:gd name="connsiteY2" fmla="*/ 5955727 h 5975824"/>
              <a:gd name="connsiteX3" fmla="*/ 6309152 w 6309152"/>
              <a:gd name="connsiteY3" fmla="*/ 21894 h 5975824"/>
              <a:gd name="connsiteX4" fmla="*/ 1600493 w 6309152"/>
              <a:gd name="connsiteY4" fmla="*/ 0 h 5975824"/>
              <a:gd name="connsiteX0" fmla="*/ 1600493 w 6309152"/>
              <a:gd name="connsiteY0" fmla="*/ 0 h 5985872"/>
              <a:gd name="connsiteX1" fmla="*/ 0 w 6309152"/>
              <a:gd name="connsiteY1" fmla="*/ 5975824 h 5985872"/>
              <a:gd name="connsiteX2" fmla="*/ 6289261 w 6309152"/>
              <a:gd name="connsiteY2" fmla="*/ 5985872 h 5985872"/>
              <a:gd name="connsiteX3" fmla="*/ 6309152 w 6309152"/>
              <a:gd name="connsiteY3" fmla="*/ 21894 h 5985872"/>
              <a:gd name="connsiteX4" fmla="*/ 1600493 w 6309152"/>
              <a:gd name="connsiteY4" fmla="*/ 0 h 5985872"/>
              <a:gd name="connsiteX0" fmla="*/ 1600493 w 6309152"/>
              <a:gd name="connsiteY0" fmla="*/ 0 h 5975824"/>
              <a:gd name="connsiteX1" fmla="*/ 0 w 6309152"/>
              <a:gd name="connsiteY1" fmla="*/ 5975824 h 5975824"/>
              <a:gd name="connsiteX2" fmla="*/ 6289261 w 6309152"/>
              <a:gd name="connsiteY2" fmla="*/ 5975824 h 5975824"/>
              <a:gd name="connsiteX3" fmla="*/ 6309152 w 6309152"/>
              <a:gd name="connsiteY3" fmla="*/ 21894 h 5975824"/>
              <a:gd name="connsiteX4" fmla="*/ 1600493 w 6309152"/>
              <a:gd name="connsiteY4" fmla="*/ 0 h 5975824"/>
              <a:gd name="connsiteX0" fmla="*/ 1600493 w 6304127"/>
              <a:gd name="connsiteY0" fmla="*/ 8251 h 5984075"/>
              <a:gd name="connsiteX1" fmla="*/ 0 w 6304127"/>
              <a:gd name="connsiteY1" fmla="*/ 5984075 h 5984075"/>
              <a:gd name="connsiteX2" fmla="*/ 6289261 w 6304127"/>
              <a:gd name="connsiteY2" fmla="*/ 5984075 h 5984075"/>
              <a:gd name="connsiteX3" fmla="*/ 6304127 w 6304127"/>
              <a:gd name="connsiteY3" fmla="*/ 0 h 5984075"/>
              <a:gd name="connsiteX4" fmla="*/ 1600493 w 6304127"/>
              <a:gd name="connsiteY4" fmla="*/ 8251 h 5984075"/>
              <a:gd name="connsiteX0" fmla="*/ 762784 w 5466418"/>
              <a:gd name="connsiteY0" fmla="*/ 8251 h 5984075"/>
              <a:gd name="connsiteX1" fmla="*/ 0 w 5466418"/>
              <a:gd name="connsiteY1" fmla="*/ 2857417 h 5984075"/>
              <a:gd name="connsiteX2" fmla="*/ 5451552 w 5466418"/>
              <a:gd name="connsiteY2" fmla="*/ 5984075 h 5984075"/>
              <a:gd name="connsiteX3" fmla="*/ 5466418 w 5466418"/>
              <a:gd name="connsiteY3" fmla="*/ 0 h 5984075"/>
              <a:gd name="connsiteX4" fmla="*/ 762784 w 5466418"/>
              <a:gd name="connsiteY4" fmla="*/ 8251 h 5984075"/>
              <a:gd name="connsiteX0" fmla="*/ 762784 w 5466418"/>
              <a:gd name="connsiteY0" fmla="*/ 8251 h 2857417"/>
              <a:gd name="connsiteX1" fmla="*/ 0 w 5466418"/>
              <a:gd name="connsiteY1" fmla="*/ 2857417 h 2857417"/>
              <a:gd name="connsiteX2" fmla="*/ 5457451 w 5466418"/>
              <a:gd name="connsiteY2" fmla="*/ 2845619 h 2857417"/>
              <a:gd name="connsiteX3" fmla="*/ 5466418 w 5466418"/>
              <a:gd name="connsiteY3" fmla="*/ 0 h 2857417"/>
              <a:gd name="connsiteX4" fmla="*/ 762784 w 5466418"/>
              <a:gd name="connsiteY4" fmla="*/ 8251 h 2857417"/>
              <a:gd name="connsiteX0" fmla="*/ 509112 w 5212746"/>
              <a:gd name="connsiteY0" fmla="*/ 8251 h 2845619"/>
              <a:gd name="connsiteX1" fmla="*/ 0 w 5212746"/>
              <a:gd name="connsiteY1" fmla="*/ 1919419 h 2845619"/>
              <a:gd name="connsiteX2" fmla="*/ 5203779 w 5212746"/>
              <a:gd name="connsiteY2" fmla="*/ 2845619 h 2845619"/>
              <a:gd name="connsiteX3" fmla="*/ 5212746 w 5212746"/>
              <a:gd name="connsiteY3" fmla="*/ 0 h 2845619"/>
              <a:gd name="connsiteX4" fmla="*/ 509112 w 5212746"/>
              <a:gd name="connsiteY4" fmla="*/ 8251 h 2845619"/>
              <a:gd name="connsiteX0" fmla="*/ 509112 w 5212746"/>
              <a:gd name="connsiteY0" fmla="*/ 8251 h 1919419"/>
              <a:gd name="connsiteX1" fmla="*/ 0 w 5212746"/>
              <a:gd name="connsiteY1" fmla="*/ 1919419 h 1919419"/>
              <a:gd name="connsiteX2" fmla="*/ 5197880 w 5212746"/>
              <a:gd name="connsiteY2" fmla="*/ 1901722 h 1919419"/>
              <a:gd name="connsiteX3" fmla="*/ 5212746 w 5212746"/>
              <a:gd name="connsiteY3" fmla="*/ 0 h 1919419"/>
              <a:gd name="connsiteX4" fmla="*/ 509112 w 5212746"/>
              <a:gd name="connsiteY4" fmla="*/ 8251 h 1919419"/>
              <a:gd name="connsiteX0" fmla="*/ 509112 w 5212746"/>
              <a:gd name="connsiteY0" fmla="*/ 8251 h 1919419"/>
              <a:gd name="connsiteX1" fmla="*/ 0 w 5212746"/>
              <a:gd name="connsiteY1" fmla="*/ 1919419 h 1919419"/>
              <a:gd name="connsiteX2" fmla="*/ 5197880 w 5212746"/>
              <a:gd name="connsiteY2" fmla="*/ 1913521 h 1919419"/>
              <a:gd name="connsiteX3" fmla="*/ 5212746 w 5212746"/>
              <a:gd name="connsiteY3" fmla="*/ 0 h 1919419"/>
              <a:gd name="connsiteX4" fmla="*/ 509112 w 5212746"/>
              <a:gd name="connsiteY4" fmla="*/ 8251 h 1919419"/>
              <a:gd name="connsiteX0" fmla="*/ 302635 w 5006269"/>
              <a:gd name="connsiteY0" fmla="*/ 8251 h 1913521"/>
              <a:gd name="connsiteX1" fmla="*/ 0 w 5006269"/>
              <a:gd name="connsiteY1" fmla="*/ 1128906 h 1913521"/>
              <a:gd name="connsiteX2" fmla="*/ 4991403 w 5006269"/>
              <a:gd name="connsiteY2" fmla="*/ 1913521 h 1913521"/>
              <a:gd name="connsiteX3" fmla="*/ 5006269 w 5006269"/>
              <a:gd name="connsiteY3" fmla="*/ 0 h 1913521"/>
              <a:gd name="connsiteX4" fmla="*/ 302635 w 5006269"/>
              <a:gd name="connsiteY4" fmla="*/ 8251 h 1913521"/>
              <a:gd name="connsiteX0" fmla="*/ 302635 w 5006269"/>
              <a:gd name="connsiteY0" fmla="*/ 8251 h 1128906"/>
              <a:gd name="connsiteX1" fmla="*/ 0 w 5006269"/>
              <a:gd name="connsiteY1" fmla="*/ 1128906 h 1128906"/>
              <a:gd name="connsiteX2" fmla="*/ 5003202 w 5006269"/>
              <a:gd name="connsiteY2" fmla="*/ 1117108 h 1128906"/>
              <a:gd name="connsiteX3" fmla="*/ 5006269 w 5006269"/>
              <a:gd name="connsiteY3" fmla="*/ 0 h 1128906"/>
              <a:gd name="connsiteX4" fmla="*/ 302635 w 5006269"/>
              <a:gd name="connsiteY4" fmla="*/ 8251 h 1128906"/>
              <a:gd name="connsiteX0" fmla="*/ 302635 w 5003220"/>
              <a:gd name="connsiteY0" fmla="*/ 8251 h 1128906"/>
              <a:gd name="connsiteX1" fmla="*/ 0 w 5003220"/>
              <a:gd name="connsiteY1" fmla="*/ 1128906 h 1128906"/>
              <a:gd name="connsiteX2" fmla="*/ 5003202 w 5003220"/>
              <a:gd name="connsiteY2" fmla="*/ 1117108 h 1128906"/>
              <a:gd name="connsiteX3" fmla="*/ 4025481 w 5003220"/>
              <a:gd name="connsiteY3" fmla="*/ 0 h 1128906"/>
              <a:gd name="connsiteX4" fmla="*/ 302635 w 5003220"/>
              <a:gd name="connsiteY4" fmla="*/ 8251 h 1128906"/>
              <a:gd name="connsiteX0" fmla="*/ 302635 w 4025482"/>
              <a:gd name="connsiteY0" fmla="*/ 8251 h 1128906"/>
              <a:gd name="connsiteX1" fmla="*/ 0 w 4025482"/>
              <a:gd name="connsiteY1" fmla="*/ 1128906 h 1128906"/>
              <a:gd name="connsiteX2" fmla="*/ 4022414 w 4025482"/>
              <a:gd name="connsiteY2" fmla="*/ 1123646 h 1128906"/>
              <a:gd name="connsiteX3" fmla="*/ 4025481 w 4025482"/>
              <a:gd name="connsiteY3" fmla="*/ 0 h 1128906"/>
              <a:gd name="connsiteX4" fmla="*/ 302635 w 4025482"/>
              <a:gd name="connsiteY4" fmla="*/ 8251 h 1128906"/>
              <a:gd name="connsiteX0" fmla="*/ 446485 w 4025481"/>
              <a:gd name="connsiteY0" fmla="*/ 0 h 1689512"/>
              <a:gd name="connsiteX1" fmla="*/ 0 w 4025481"/>
              <a:gd name="connsiteY1" fmla="*/ 1689512 h 1689512"/>
              <a:gd name="connsiteX2" fmla="*/ 4022414 w 4025481"/>
              <a:gd name="connsiteY2" fmla="*/ 1684252 h 1689512"/>
              <a:gd name="connsiteX3" fmla="*/ 4025481 w 4025481"/>
              <a:gd name="connsiteY3" fmla="*/ 560606 h 1689512"/>
              <a:gd name="connsiteX4" fmla="*/ 446485 w 4025481"/>
              <a:gd name="connsiteY4" fmla="*/ 0 h 1689512"/>
              <a:gd name="connsiteX0" fmla="*/ 446485 w 4023534"/>
              <a:gd name="connsiteY0" fmla="*/ 27866 h 1717378"/>
              <a:gd name="connsiteX1" fmla="*/ 0 w 4023534"/>
              <a:gd name="connsiteY1" fmla="*/ 1717378 h 1717378"/>
              <a:gd name="connsiteX2" fmla="*/ 4022414 w 4023534"/>
              <a:gd name="connsiteY2" fmla="*/ 1712118 h 1717378"/>
              <a:gd name="connsiteX3" fmla="*/ 4018943 w 4023534"/>
              <a:gd name="connsiteY3" fmla="*/ 0 h 1717378"/>
              <a:gd name="connsiteX4" fmla="*/ 446485 w 4023534"/>
              <a:gd name="connsiteY4" fmla="*/ 27866 h 1717378"/>
              <a:gd name="connsiteX0" fmla="*/ 446485 w 4023534"/>
              <a:gd name="connsiteY0" fmla="*/ 1712 h 1717378"/>
              <a:gd name="connsiteX1" fmla="*/ 0 w 4023534"/>
              <a:gd name="connsiteY1" fmla="*/ 1717378 h 1717378"/>
              <a:gd name="connsiteX2" fmla="*/ 4022414 w 4023534"/>
              <a:gd name="connsiteY2" fmla="*/ 1712118 h 1717378"/>
              <a:gd name="connsiteX3" fmla="*/ 4018943 w 4023534"/>
              <a:gd name="connsiteY3" fmla="*/ 0 h 1717378"/>
              <a:gd name="connsiteX4" fmla="*/ 446485 w 4023534"/>
              <a:gd name="connsiteY4" fmla="*/ 1712 h 1717378"/>
              <a:gd name="connsiteX0" fmla="*/ 0 w 4047827"/>
              <a:gd name="connsiteY0" fmla="*/ 1712 h 1717378"/>
              <a:gd name="connsiteX1" fmla="*/ 24293 w 4047827"/>
              <a:gd name="connsiteY1" fmla="*/ 1717378 h 1717378"/>
              <a:gd name="connsiteX2" fmla="*/ 4046707 w 4047827"/>
              <a:gd name="connsiteY2" fmla="*/ 1712118 h 1717378"/>
              <a:gd name="connsiteX3" fmla="*/ 4043236 w 4047827"/>
              <a:gd name="connsiteY3" fmla="*/ 0 h 1717378"/>
              <a:gd name="connsiteX4" fmla="*/ 0 w 4047827"/>
              <a:gd name="connsiteY4" fmla="*/ 1712 h 1717378"/>
              <a:gd name="connsiteX0" fmla="*/ 439947 w 4487774"/>
              <a:gd name="connsiteY0" fmla="*/ 1712 h 1717378"/>
              <a:gd name="connsiteX1" fmla="*/ 0 w 4487774"/>
              <a:gd name="connsiteY1" fmla="*/ 1717378 h 1717378"/>
              <a:gd name="connsiteX2" fmla="*/ 4486654 w 4487774"/>
              <a:gd name="connsiteY2" fmla="*/ 1712118 h 1717378"/>
              <a:gd name="connsiteX3" fmla="*/ 4483183 w 4487774"/>
              <a:gd name="connsiteY3" fmla="*/ 0 h 1717378"/>
              <a:gd name="connsiteX4" fmla="*/ 439947 w 4487774"/>
              <a:gd name="connsiteY4" fmla="*/ 1712 h 1717378"/>
              <a:gd name="connsiteX0" fmla="*/ 439947 w 4493992"/>
              <a:gd name="connsiteY0" fmla="*/ 1712 h 1717378"/>
              <a:gd name="connsiteX1" fmla="*/ 0 w 4493992"/>
              <a:gd name="connsiteY1" fmla="*/ 1717378 h 1717378"/>
              <a:gd name="connsiteX2" fmla="*/ 4493194 w 4493992"/>
              <a:gd name="connsiteY2" fmla="*/ 1267493 h 1717378"/>
              <a:gd name="connsiteX3" fmla="*/ 4483183 w 4493992"/>
              <a:gd name="connsiteY3" fmla="*/ 0 h 1717378"/>
              <a:gd name="connsiteX4" fmla="*/ 439947 w 4493992"/>
              <a:gd name="connsiteY4" fmla="*/ 1712 h 1717378"/>
              <a:gd name="connsiteX0" fmla="*/ 322253 w 4376298"/>
              <a:gd name="connsiteY0" fmla="*/ 1712 h 1267493"/>
              <a:gd name="connsiteX1" fmla="*/ 0 w 4376298"/>
              <a:gd name="connsiteY1" fmla="*/ 1253139 h 1267493"/>
              <a:gd name="connsiteX2" fmla="*/ 4375500 w 4376298"/>
              <a:gd name="connsiteY2" fmla="*/ 1267493 h 1267493"/>
              <a:gd name="connsiteX3" fmla="*/ 4365489 w 4376298"/>
              <a:gd name="connsiteY3" fmla="*/ 0 h 1267493"/>
              <a:gd name="connsiteX4" fmla="*/ 322253 w 4376298"/>
              <a:gd name="connsiteY4" fmla="*/ 1712 h 1267493"/>
              <a:gd name="connsiteX0" fmla="*/ 322253 w 4376298"/>
              <a:gd name="connsiteY0" fmla="*/ 1712 h 1267493"/>
              <a:gd name="connsiteX1" fmla="*/ 0 w 4376298"/>
              <a:gd name="connsiteY1" fmla="*/ 1259678 h 1267493"/>
              <a:gd name="connsiteX2" fmla="*/ 4375500 w 4376298"/>
              <a:gd name="connsiteY2" fmla="*/ 1267493 h 1267493"/>
              <a:gd name="connsiteX3" fmla="*/ 4365489 w 4376298"/>
              <a:gd name="connsiteY3" fmla="*/ 0 h 1267493"/>
              <a:gd name="connsiteX4" fmla="*/ 322253 w 4376298"/>
              <a:gd name="connsiteY4" fmla="*/ 1712 h 1267493"/>
              <a:gd name="connsiteX0" fmla="*/ 322253 w 4376298"/>
              <a:gd name="connsiteY0" fmla="*/ 1712 h 1272754"/>
              <a:gd name="connsiteX1" fmla="*/ 0 w 4376298"/>
              <a:gd name="connsiteY1" fmla="*/ 1272754 h 1272754"/>
              <a:gd name="connsiteX2" fmla="*/ 4375500 w 4376298"/>
              <a:gd name="connsiteY2" fmla="*/ 1267493 h 1272754"/>
              <a:gd name="connsiteX3" fmla="*/ 4365489 w 4376298"/>
              <a:gd name="connsiteY3" fmla="*/ 0 h 1272754"/>
              <a:gd name="connsiteX4" fmla="*/ 322253 w 4376298"/>
              <a:gd name="connsiteY4" fmla="*/ 1712 h 1272754"/>
              <a:gd name="connsiteX0" fmla="*/ 322253 w 4371261"/>
              <a:gd name="connsiteY0" fmla="*/ 1712 h 1272754"/>
              <a:gd name="connsiteX1" fmla="*/ 0 w 4371261"/>
              <a:gd name="connsiteY1" fmla="*/ 1272754 h 1272754"/>
              <a:gd name="connsiteX2" fmla="*/ 4370221 w 4371261"/>
              <a:gd name="connsiteY2" fmla="*/ 1269253 h 1272754"/>
              <a:gd name="connsiteX3" fmla="*/ 4365489 w 4371261"/>
              <a:gd name="connsiteY3" fmla="*/ 0 h 1272754"/>
              <a:gd name="connsiteX4" fmla="*/ 322253 w 437126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32811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32811 w 4370221"/>
              <a:gd name="connsiteY4" fmla="*/ 1712 h 1272754"/>
              <a:gd name="connsiteX0" fmla="*/ 0 w 4384034"/>
              <a:gd name="connsiteY0" fmla="*/ 1712 h 1272754"/>
              <a:gd name="connsiteX1" fmla="*/ 13813 w 4384034"/>
              <a:gd name="connsiteY1" fmla="*/ 1272754 h 1272754"/>
              <a:gd name="connsiteX2" fmla="*/ 4384034 w 4384034"/>
              <a:gd name="connsiteY2" fmla="*/ 1269253 h 1272754"/>
              <a:gd name="connsiteX3" fmla="*/ 4379302 w 4384034"/>
              <a:gd name="connsiteY3" fmla="*/ 0 h 1272754"/>
              <a:gd name="connsiteX4" fmla="*/ 0 w 4384034"/>
              <a:gd name="connsiteY4" fmla="*/ 1712 h 1272754"/>
              <a:gd name="connsiteX0" fmla="*/ 316976 w 4701010"/>
              <a:gd name="connsiteY0" fmla="*/ 1712 h 1272754"/>
              <a:gd name="connsiteX1" fmla="*/ 0 w 4701010"/>
              <a:gd name="connsiteY1" fmla="*/ 1272754 h 1272754"/>
              <a:gd name="connsiteX2" fmla="*/ 4701010 w 4701010"/>
              <a:gd name="connsiteY2" fmla="*/ 1269253 h 1272754"/>
              <a:gd name="connsiteX3" fmla="*/ 4696278 w 4701010"/>
              <a:gd name="connsiteY3" fmla="*/ 0 h 1272754"/>
              <a:gd name="connsiteX4" fmla="*/ 316976 w 4701010"/>
              <a:gd name="connsiteY4" fmla="*/ 1712 h 1272754"/>
              <a:gd name="connsiteX0" fmla="*/ 343369 w 4727403"/>
              <a:gd name="connsiteY0" fmla="*/ 1712 h 1274514"/>
              <a:gd name="connsiteX1" fmla="*/ 0 w 4727403"/>
              <a:gd name="connsiteY1" fmla="*/ 1274514 h 1274514"/>
              <a:gd name="connsiteX2" fmla="*/ 4727403 w 4727403"/>
              <a:gd name="connsiteY2" fmla="*/ 1269253 h 1274514"/>
              <a:gd name="connsiteX3" fmla="*/ 4722671 w 4727403"/>
              <a:gd name="connsiteY3" fmla="*/ 0 h 1274514"/>
              <a:gd name="connsiteX4" fmla="*/ 343369 w 4727403"/>
              <a:gd name="connsiteY4" fmla="*/ 1712 h 1274514"/>
              <a:gd name="connsiteX0" fmla="*/ 343369 w 4730922"/>
              <a:gd name="connsiteY0" fmla="*/ 1712 h 2022324"/>
              <a:gd name="connsiteX1" fmla="*/ 0 w 4730922"/>
              <a:gd name="connsiteY1" fmla="*/ 1274514 h 2022324"/>
              <a:gd name="connsiteX2" fmla="*/ 4730922 w 4730922"/>
              <a:gd name="connsiteY2" fmla="*/ 2022324 h 2022324"/>
              <a:gd name="connsiteX3" fmla="*/ 4722671 w 4730922"/>
              <a:gd name="connsiteY3" fmla="*/ 0 h 2022324"/>
              <a:gd name="connsiteX4" fmla="*/ 343369 w 4730922"/>
              <a:gd name="connsiteY4" fmla="*/ 1712 h 2022324"/>
              <a:gd name="connsiteX0" fmla="*/ 550992 w 4938545"/>
              <a:gd name="connsiteY0" fmla="*/ 1712 h 2038142"/>
              <a:gd name="connsiteX1" fmla="*/ 0 w 4938545"/>
              <a:gd name="connsiteY1" fmla="*/ 2038142 h 2038142"/>
              <a:gd name="connsiteX2" fmla="*/ 4938545 w 4938545"/>
              <a:gd name="connsiteY2" fmla="*/ 2022324 h 2038142"/>
              <a:gd name="connsiteX3" fmla="*/ 4930294 w 4938545"/>
              <a:gd name="connsiteY3" fmla="*/ 0 h 2038142"/>
              <a:gd name="connsiteX4" fmla="*/ 550992 w 4938545"/>
              <a:gd name="connsiteY4" fmla="*/ 1712 h 2038142"/>
              <a:gd name="connsiteX0" fmla="*/ 470050 w 4938545"/>
              <a:gd name="connsiteY0" fmla="*/ 1712 h 2038142"/>
              <a:gd name="connsiteX1" fmla="*/ 0 w 4938545"/>
              <a:gd name="connsiteY1" fmla="*/ 2038142 h 2038142"/>
              <a:gd name="connsiteX2" fmla="*/ 4938545 w 4938545"/>
              <a:gd name="connsiteY2" fmla="*/ 2022324 h 2038142"/>
              <a:gd name="connsiteX3" fmla="*/ 4930294 w 4938545"/>
              <a:gd name="connsiteY3" fmla="*/ 0 h 2038142"/>
              <a:gd name="connsiteX4" fmla="*/ 470050 w 4938545"/>
              <a:gd name="connsiteY4" fmla="*/ 1712 h 2038142"/>
              <a:gd name="connsiteX0" fmla="*/ 470050 w 5097979"/>
              <a:gd name="connsiteY0" fmla="*/ 8566 h 2044996"/>
              <a:gd name="connsiteX1" fmla="*/ 0 w 5097979"/>
              <a:gd name="connsiteY1" fmla="*/ 2044996 h 2044996"/>
              <a:gd name="connsiteX2" fmla="*/ 4938545 w 5097979"/>
              <a:gd name="connsiteY2" fmla="*/ 2029178 h 2044996"/>
              <a:gd name="connsiteX3" fmla="*/ 5097960 w 5097979"/>
              <a:gd name="connsiteY3" fmla="*/ 0 h 2044996"/>
              <a:gd name="connsiteX4" fmla="*/ 470050 w 5097979"/>
              <a:gd name="connsiteY4" fmla="*/ 8566 h 2044996"/>
              <a:gd name="connsiteX0" fmla="*/ 470050 w 5100430"/>
              <a:gd name="connsiteY0" fmla="*/ 8566 h 2044996"/>
              <a:gd name="connsiteX1" fmla="*/ 0 w 5100430"/>
              <a:gd name="connsiteY1" fmla="*/ 2044996 h 2044996"/>
              <a:gd name="connsiteX2" fmla="*/ 5100430 w 5100430"/>
              <a:gd name="connsiteY2" fmla="*/ 2029178 h 2044996"/>
              <a:gd name="connsiteX3" fmla="*/ 5097960 w 5100430"/>
              <a:gd name="connsiteY3" fmla="*/ 0 h 2044996"/>
              <a:gd name="connsiteX4" fmla="*/ 470050 w 5100430"/>
              <a:gd name="connsiteY4" fmla="*/ 8566 h 2044996"/>
              <a:gd name="connsiteX0" fmla="*/ 348636 w 4979016"/>
              <a:gd name="connsiteY0" fmla="*/ 8566 h 2029178"/>
              <a:gd name="connsiteX1" fmla="*/ 0 w 4979016"/>
              <a:gd name="connsiteY1" fmla="*/ 1613242 h 2029178"/>
              <a:gd name="connsiteX2" fmla="*/ 4979016 w 4979016"/>
              <a:gd name="connsiteY2" fmla="*/ 2029178 h 2029178"/>
              <a:gd name="connsiteX3" fmla="*/ 4976546 w 4979016"/>
              <a:gd name="connsiteY3" fmla="*/ 0 h 2029178"/>
              <a:gd name="connsiteX4" fmla="*/ 348636 w 4979016"/>
              <a:gd name="connsiteY4" fmla="*/ 8566 h 2029178"/>
              <a:gd name="connsiteX0" fmla="*/ 348636 w 4976855"/>
              <a:gd name="connsiteY0" fmla="*/ 8566 h 1613242"/>
              <a:gd name="connsiteX1" fmla="*/ 0 w 4976855"/>
              <a:gd name="connsiteY1" fmla="*/ 1613242 h 1613242"/>
              <a:gd name="connsiteX2" fmla="*/ 4973235 w 4976855"/>
              <a:gd name="connsiteY2" fmla="*/ 1611131 h 1613242"/>
              <a:gd name="connsiteX3" fmla="*/ 4976546 w 4976855"/>
              <a:gd name="connsiteY3" fmla="*/ 0 h 1613242"/>
              <a:gd name="connsiteX4" fmla="*/ 348636 w 4976855"/>
              <a:gd name="connsiteY4" fmla="*/ 8566 h 1613242"/>
              <a:gd name="connsiteX0" fmla="*/ 6798 w 4976855"/>
              <a:gd name="connsiteY0" fmla="*/ 0 h 1616249"/>
              <a:gd name="connsiteX1" fmla="*/ 0 w 4976855"/>
              <a:gd name="connsiteY1" fmla="*/ 1616249 h 1616249"/>
              <a:gd name="connsiteX2" fmla="*/ 4973235 w 4976855"/>
              <a:gd name="connsiteY2" fmla="*/ 1614138 h 1616249"/>
              <a:gd name="connsiteX3" fmla="*/ 4976546 w 4976855"/>
              <a:gd name="connsiteY3" fmla="*/ 3007 h 1616249"/>
              <a:gd name="connsiteX4" fmla="*/ 6798 w 4976855"/>
              <a:gd name="connsiteY4" fmla="*/ 0 h 1616249"/>
              <a:gd name="connsiteX0" fmla="*/ 265164 w 5235221"/>
              <a:gd name="connsiteY0" fmla="*/ 0 h 1614138"/>
              <a:gd name="connsiteX1" fmla="*/ 0 w 5235221"/>
              <a:gd name="connsiteY1" fmla="*/ 1610462 h 1614138"/>
              <a:gd name="connsiteX2" fmla="*/ 5231601 w 5235221"/>
              <a:gd name="connsiteY2" fmla="*/ 1614138 h 1614138"/>
              <a:gd name="connsiteX3" fmla="*/ 5234912 w 5235221"/>
              <a:gd name="connsiteY3" fmla="*/ 3007 h 1614138"/>
              <a:gd name="connsiteX4" fmla="*/ 265164 w 5235221"/>
              <a:gd name="connsiteY4" fmla="*/ 0 h 1614138"/>
              <a:gd name="connsiteX0" fmla="*/ 285038 w 5255095"/>
              <a:gd name="connsiteY0" fmla="*/ 0 h 1614138"/>
              <a:gd name="connsiteX1" fmla="*/ 0 w 5255095"/>
              <a:gd name="connsiteY1" fmla="*/ 1598888 h 1614138"/>
              <a:gd name="connsiteX2" fmla="*/ 5251475 w 5255095"/>
              <a:gd name="connsiteY2" fmla="*/ 1614138 h 1614138"/>
              <a:gd name="connsiteX3" fmla="*/ 5254786 w 5255095"/>
              <a:gd name="connsiteY3" fmla="*/ 3007 h 1614138"/>
              <a:gd name="connsiteX4" fmla="*/ 285038 w 5255095"/>
              <a:gd name="connsiteY4" fmla="*/ 0 h 1614138"/>
              <a:gd name="connsiteX0" fmla="*/ 265164 w 5235221"/>
              <a:gd name="connsiteY0" fmla="*/ 0 h 1614138"/>
              <a:gd name="connsiteX1" fmla="*/ 0 w 5235221"/>
              <a:gd name="connsiteY1" fmla="*/ 1604675 h 1614138"/>
              <a:gd name="connsiteX2" fmla="*/ 5231601 w 5235221"/>
              <a:gd name="connsiteY2" fmla="*/ 1614138 h 1614138"/>
              <a:gd name="connsiteX3" fmla="*/ 5234912 w 5235221"/>
              <a:gd name="connsiteY3" fmla="*/ 3007 h 1614138"/>
              <a:gd name="connsiteX4" fmla="*/ 265164 w 5235221"/>
              <a:gd name="connsiteY4" fmla="*/ 0 h 1614138"/>
              <a:gd name="connsiteX0" fmla="*/ 292988 w 5263045"/>
              <a:gd name="connsiteY0" fmla="*/ 0 h 1614138"/>
              <a:gd name="connsiteX1" fmla="*/ 0 w 5263045"/>
              <a:gd name="connsiteY1" fmla="*/ 1610462 h 1614138"/>
              <a:gd name="connsiteX2" fmla="*/ 5259425 w 5263045"/>
              <a:gd name="connsiteY2" fmla="*/ 1614138 h 1614138"/>
              <a:gd name="connsiteX3" fmla="*/ 5262736 w 5263045"/>
              <a:gd name="connsiteY3" fmla="*/ 3007 h 1614138"/>
              <a:gd name="connsiteX4" fmla="*/ 292988 w 5263045"/>
              <a:gd name="connsiteY4" fmla="*/ 0 h 1614138"/>
              <a:gd name="connsiteX0" fmla="*/ 292988 w 8096190"/>
              <a:gd name="connsiteY0" fmla="*/ 0 h 1614138"/>
              <a:gd name="connsiteX1" fmla="*/ 0 w 8096190"/>
              <a:gd name="connsiteY1" fmla="*/ 1610462 h 1614138"/>
              <a:gd name="connsiteX2" fmla="*/ 8096190 w 8096190"/>
              <a:gd name="connsiteY2" fmla="*/ 1614138 h 1614138"/>
              <a:gd name="connsiteX3" fmla="*/ 5262736 w 8096190"/>
              <a:gd name="connsiteY3" fmla="*/ 3007 h 1614138"/>
              <a:gd name="connsiteX4" fmla="*/ 292988 w 8096190"/>
              <a:gd name="connsiteY4" fmla="*/ 0 h 1614138"/>
              <a:gd name="connsiteX0" fmla="*/ 292988 w 8096190"/>
              <a:gd name="connsiteY0" fmla="*/ 9248 h 1623386"/>
              <a:gd name="connsiteX1" fmla="*/ 0 w 8096190"/>
              <a:gd name="connsiteY1" fmla="*/ 1619710 h 1623386"/>
              <a:gd name="connsiteX2" fmla="*/ 8096190 w 8096190"/>
              <a:gd name="connsiteY2" fmla="*/ 1623386 h 1623386"/>
              <a:gd name="connsiteX3" fmla="*/ 8091085 w 8096190"/>
              <a:gd name="connsiteY3" fmla="*/ 0 h 1623386"/>
              <a:gd name="connsiteX4" fmla="*/ 292988 w 8096190"/>
              <a:gd name="connsiteY4" fmla="*/ 9248 h 1623386"/>
              <a:gd name="connsiteX0" fmla="*/ 292988 w 8096190"/>
              <a:gd name="connsiteY0" fmla="*/ 0 h 1614138"/>
              <a:gd name="connsiteX1" fmla="*/ 0 w 8096190"/>
              <a:gd name="connsiteY1" fmla="*/ 1610462 h 1614138"/>
              <a:gd name="connsiteX2" fmla="*/ 8096190 w 8096190"/>
              <a:gd name="connsiteY2" fmla="*/ 1614138 h 1614138"/>
              <a:gd name="connsiteX3" fmla="*/ 8082667 w 8096190"/>
              <a:gd name="connsiteY3" fmla="*/ 15264 h 1614138"/>
              <a:gd name="connsiteX4" fmla="*/ 292988 w 8096190"/>
              <a:gd name="connsiteY4" fmla="*/ 0 h 1614138"/>
              <a:gd name="connsiteX0" fmla="*/ 292988 w 8476493"/>
              <a:gd name="connsiteY0" fmla="*/ 0 h 1614138"/>
              <a:gd name="connsiteX1" fmla="*/ 0 w 8476493"/>
              <a:gd name="connsiteY1" fmla="*/ 1610462 h 1614138"/>
              <a:gd name="connsiteX2" fmla="*/ 8096190 w 8476493"/>
              <a:gd name="connsiteY2" fmla="*/ 1614138 h 1614138"/>
              <a:gd name="connsiteX3" fmla="*/ 8476485 w 8476493"/>
              <a:gd name="connsiteY3" fmla="*/ 15265 h 1614138"/>
              <a:gd name="connsiteX4" fmla="*/ 292988 w 8476493"/>
              <a:gd name="connsiteY4" fmla="*/ 0 h 1614138"/>
              <a:gd name="connsiteX0" fmla="*/ 292988 w 8490007"/>
              <a:gd name="connsiteY0" fmla="*/ 0 h 1610463"/>
              <a:gd name="connsiteX1" fmla="*/ 0 w 8490007"/>
              <a:gd name="connsiteY1" fmla="*/ 1610462 h 1610463"/>
              <a:gd name="connsiteX2" fmla="*/ 8490007 w 8490007"/>
              <a:gd name="connsiteY2" fmla="*/ 1588654 h 1610463"/>
              <a:gd name="connsiteX3" fmla="*/ 8476485 w 8490007"/>
              <a:gd name="connsiteY3" fmla="*/ 15265 h 1610463"/>
              <a:gd name="connsiteX4" fmla="*/ 292988 w 8490007"/>
              <a:gd name="connsiteY4" fmla="*/ 0 h 1610463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15265 h 1610462"/>
              <a:gd name="connsiteX4" fmla="*/ 292988 w 8481255"/>
              <a:gd name="connsiteY4" fmla="*/ 0 h 1610462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15265 h 1610462"/>
              <a:gd name="connsiteX4" fmla="*/ 292988 w 8481255"/>
              <a:gd name="connsiteY4" fmla="*/ 0 h 1610462"/>
              <a:gd name="connsiteX0" fmla="*/ 292988 w 8481255"/>
              <a:gd name="connsiteY0" fmla="*/ 10218 h 1620680"/>
              <a:gd name="connsiteX1" fmla="*/ 0 w 8481255"/>
              <a:gd name="connsiteY1" fmla="*/ 1620680 h 1620680"/>
              <a:gd name="connsiteX2" fmla="*/ 8481255 w 8481255"/>
              <a:gd name="connsiteY2" fmla="*/ 1598873 h 1620680"/>
              <a:gd name="connsiteX3" fmla="*/ 8476485 w 8481255"/>
              <a:gd name="connsiteY3" fmla="*/ 0 h 1620680"/>
              <a:gd name="connsiteX4" fmla="*/ 292988 w 8481255"/>
              <a:gd name="connsiteY4" fmla="*/ 10218 h 1620680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2524 h 1610462"/>
              <a:gd name="connsiteX4" fmla="*/ 292988 w 8481255"/>
              <a:gd name="connsiteY4" fmla="*/ 0 h 1610462"/>
              <a:gd name="connsiteX0" fmla="*/ 292988 w 8476598"/>
              <a:gd name="connsiteY0" fmla="*/ 0 h 1610462"/>
              <a:gd name="connsiteX1" fmla="*/ 0 w 8476598"/>
              <a:gd name="connsiteY1" fmla="*/ 1610462 h 1610462"/>
              <a:gd name="connsiteX2" fmla="*/ 8455001 w 8476598"/>
              <a:gd name="connsiteY2" fmla="*/ 1601397 h 1610462"/>
              <a:gd name="connsiteX3" fmla="*/ 8476485 w 8476598"/>
              <a:gd name="connsiteY3" fmla="*/ 2524 h 1610462"/>
              <a:gd name="connsiteX4" fmla="*/ 292988 w 8476598"/>
              <a:gd name="connsiteY4" fmla="*/ 0 h 1610462"/>
              <a:gd name="connsiteX0" fmla="*/ 292988 w 8481256"/>
              <a:gd name="connsiteY0" fmla="*/ 0 h 1610462"/>
              <a:gd name="connsiteX1" fmla="*/ 0 w 8481256"/>
              <a:gd name="connsiteY1" fmla="*/ 1610462 h 1610462"/>
              <a:gd name="connsiteX2" fmla="*/ 8481256 w 8481256"/>
              <a:gd name="connsiteY2" fmla="*/ 1588655 h 1610462"/>
              <a:gd name="connsiteX3" fmla="*/ 8476485 w 8481256"/>
              <a:gd name="connsiteY3" fmla="*/ 2524 h 1610462"/>
              <a:gd name="connsiteX4" fmla="*/ 292988 w 8481256"/>
              <a:gd name="connsiteY4" fmla="*/ 0 h 1610462"/>
              <a:gd name="connsiteX0" fmla="*/ 292988 w 8481256"/>
              <a:gd name="connsiteY0" fmla="*/ 0 h 1626879"/>
              <a:gd name="connsiteX1" fmla="*/ 0 w 8481256"/>
              <a:gd name="connsiteY1" fmla="*/ 1610462 h 1626879"/>
              <a:gd name="connsiteX2" fmla="*/ 8481256 w 8481256"/>
              <a:gd name="connsiteY2" fmla="*/ 1626879 h 1626879"/>
              <a:gd name="connsiteX3" fmla="*/ 8476485 w 8481256"/>
              <a:gd name="connsiteY3" fmla="*/ 2524 h 1626879"/>
              <a:gd name="connsiteX4" fmla="*/ 292988 w 8481256"/>
              <a:gd name="connsiteY4" fmla="*/ 0 h 1626879"/>
              <a:gd name="connsiteX0" fmla="*/ 292988 w 8481256"/>
              <a:gd name="connsiteY0" fmla="*/ 0 h 1626879"/>
              <a:gd name="connsiteX1" fmla="*/ 0 w 8481256"/>
              <a:gd name="connsiteY1" fmla="*/ 1610462 h 1626879"/>
              <a:gd name="connsiteX2" fmla="*/ 8481256 w 8481256"/>
              <a:gd name="connsiteY2" fmla="*/ 1626879 h 1626879"/>
              <a:gd name="connsiteX3" fmla="*/ 8476485 w 8481256"/>
              <a:gd name="connsiteY3" fmla="*/ 2524 h 1626879"/>
              <a:gd name="connsiteX4" fmla="*/ 292988 w 8481256"/>
              <a:gd name="connsiteY4" fmla="*/ 0 h 1626879"/>
              <a:gd name="connsiteX0" fmla="*/ 292988 w 8481256"/>
              <a:gd name="connsiteY0" fmla="*/ 0 h 1614137"/>
              <a:gd name="connsiteX1" fmla="*/ 0 w 8481256"/>
              <a:gd name="connsiteY1" fmla="*/ 1610462 h 1614137"/>
              <a:gd name="connsiteX2" fmla="*/ 8481256 w 8481256"/>
              <a:gd name="connsiteY2" fmla="*/ 1614137 h 1614137"/>
              <a:gd name="connsiteX3" fmla="*/ 8476485 w 8481256"/>
              <a:gd name="connsiteY3" fmla="*/ 2524 h 1614137"/>
              <a:gd name="connsiteX4" fmla="*/ 292988 w 8481256"/>
              <a:gd name="connsiteY4" fmla="*/ 0 h 1614137"/>
              <a:gd name="connsiteX0" fmla="*/ 292988 w 8809051"/>
              <a:gd name="connsiteY0" fmla="*/ 10218 h 1624355"/>
              <a:gd name="connsiteX1" fmla="*/ 0 w 8809051"/>
              <a:gd name="connsiteY1" fmla="*/ 1620680 h 1624355"/>
              <a:gd name="connsiteX2" fmla="*/ 8481256 w 8809051"/>
              <a:gd name="connsiteY2" fmla="*/ 1624355 h 1624355"/>
              <a:gd name="connsiteX3" fmla="*/ 8809042 w 8809051"/>
              <a:gd name="connsiteY3" fmla="*/ 0 h 1624355"/>
              <a:gd name="connsiteX4" fmla="*/ 292988 w 8809051"/>
              <a:gd name="connsiteY4" fmla="*/ 10218 h 1624355"/>
              <a:gd name="connsiteX0" fmla="*/ 292988 w 8822565"/>
              <a:gd name="connsiteY0" fmla="*/ 10218 h 1624355"/>
              <a:gd name="connsiteX1" fmla="*/ 0 w 8822565"/>
              <a:gd name="connsiteY1" fmla="*/ 1620680 h 1624355"/>
              <a:gd name="connsiteX2" fmla="*/ 8822565 w 8822565"/>
              <a:gd name="connsiteY2" fmla="*/ 1624355 h 1624355"/>
              <a:gd name="connsiteX3" fmla="*/ 8809042 w 8822565"/>
              <a:gd name="connsiteY3" fmla="*/ 0 h 1624355"/>
              <a:gd name="connsiteX4" fmla="*/ 292988 w 8822565"/>
              <a:gd name="connsiteY4" fmla="*/ 10218 h 1624355"/>
              <a:gd name="connsiteX0" fmla="*/ 292988 w 8813267"/>
              <a:gd name="connsiteY0" fmla="*/ 10218 h 1631123"/>
              <a:gd name="connsiteX1" fmla="*/ 0 w 8813267"/>
              <a:gd name="connsiteY1" fmla="*/ 1620680 h 1631123"/>
              <a:gd name="connsiteX2" fmla="*/ 8813267 w 8813267"/>
              <a:gd name="connsiteY2" fmla="*/ 1631123 h 1631123"/>
              <a:gd name="connsiteX3" fmla="*/ 8809042 w 8813267"/>
              <a:gd name="connsiteY3" fmla="*/ 0 h 1631123"/>
              <a:gd name="connsiteX4" fmla="*/ 292988 w 8813267"/>
              <a:gd name="connsiteY4" fmla="*/ 10218 h 1631123"/>
              <a:gd name="connsiteX0" fmla="*/ 292988 w 8813267"/>
              <a:gd name="connsiteY0" fmla="*/ 10218 h 1631123"/>
              <a:gd name="connsiteX1" fmla="*/ 0 w 8813267"/>
              <a:gd name="connsiteY1" fmla="*/ 1620680 h 1631123"/>
              <a:gd name="connsiteX2" fmla="*/ 8813267 w 8813267"/>
              <a:gd name="connsiteY2" fmla="*/ 1631123 h 1631123"/>
              <a:gd name="connsiteX3" fmla="*/ 8795095 w 8813267"/>
              <a:gd name="connsiteY3" fmla="*/ 0 h 1631123"/>
              <a:gd name="connsiteX4" fmla="*/ 292988 w 8813267"/>
              <a:gd name="connsiteY4" fmla="*/ 10218 h 1631123"/>
              <a:gd name="connsiteX0" fmla="*/ 292988 w 8799320"/>
              <a:gd name="connsiteY0" fmla="*/ 10218 h 1624355"/>
              <a:gd name="connsiteX1" fmla="*/ 0 w 8799320"/>
              <a:gd name="connsiteY1" fmla="*/ 1620680 h 1624355"/>
              <a:gd name="connsiteX2" fmla="*/ 8799320 w 8799320"/>
              <a:gd name="connsiteY2" fmla="*/ 1624355 h 1624355"/>
              <a:gd name="connsiteX3" fmla="*/ 8795095 w 8799320"/>
              <a:gd name="connsiteY3" fmla="*/ 0 h 1624355"/>
              <a:gd name="connsiteX4" fmla="*/ 292988 w 8799320"/>
              <a:gd name="connsiteY4" fmla="*/ 10218 h 1624355"/>
              <a:gd name="connsiteX0" fmla="*/ 292988 w 9113577"/>
              <a:gd name="connsiteY0" fmla="*/ 6834 h 1620971"/>
              <a:gd name="connsiteX1" fmla="*/ 0 w 9113577"/>
              <a:gd name="connsiteY1" fmla="*/ 1617296 h 1620971"/>
              <a:gd name="connsiteX2" fmla="*/ 8799320 w 9113577"/>
              <a:gd name="connsiteY2" fmla="*/ 1620971 h 1620971"/>
              <a:gd name="connsiteX3" fmla="*/ 9113567 w 9113577"/>
              <a:gd name="connsiteY3" fmla="*/ 0 h 1620971"/>
              <a:gd name="connsiteX4" fmla="*/ 292988 w 9113577"/>
              <a:gd name="connsiteY4" fmla="*/ 6834 h 1620971"/>
              <a:gd name="connsiteX0" fmla="*/ 292988 w 9113997"/>
              <a:gd name="connsiteY0" fmla="*/ 6834 h 1624355"/>
              <a:gd name="connsiteX1" fmla="*/ 0 w 9113997"/>
              <a:gd name="connsiteY1" fmla="*/ 1617296 h 1624355"/>
              <a:gd name="connsiteX2" fmla="*/ 9113144 w 9113997"/>
              <a:gd name="connsiteY2" fmla="*/ 1624355 h 1624355"/>
              <a:gd name="connsiteX3" fmla="*/ 9113567 w 9113997"/>
              <a:gd name="connsiteY3" fmla="*/ 0 h 1624355"/>
              <a:gd name="connsiteX4" fmla="*/ 292988 w 9113997"/>
              <a:gd name="connsiteY4" fmla="*/ 6834 h 1624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997" h="1624355">
                <a:moveTo>
                  <a:pt x="292988" y="6834"/>
                </a:moveTo>
                <a:lnTo>
                  <a:pt x="0" y="1617296"/>
                </a:lnTo>
                <a:lnTo>
                  <a:pt x="9113144" y="1624355"/>
                </a:lnTo>
                <a:cubicBezTo>
                  <a:pt x="9109302" y="710916"/>
                  <a:pt x="9115649" y="1216075"/>
                  <a:pt x="9113567" y="0"/>
                </a:cubicBezTo>
                <a:lnTo>
                  <a:pt x="292988" y="6834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70" dirty="0"/>
          </a:p>
        </p:txBody>
      </p:sp>
      <p:sp>
        <p:nvSpPr>
          <p:cNvPr id="93" name="Dowolny kształt: kształt 92">
            <a:extLst>
              <a:ext uri="{FF2B5EF4-FFF2-40B4-BE49-F238E27FC236}">
                <a16:creationId xmlns:a16="http://schemas.microsoft.com/office/drawing/2014/main" id="{11DA9B99-7949-730F-B496-0AD1774B819A}"/>
              </a:ext>
            </a:extLst>
          </p:cNvPr>
          <p:cNvSpPr>
            <a:spLocks/>
          </p:cNvSpPr>
          <p:nvPr/>
        </p:nvSpPr>
        <p:spPr>
          <a:xfrm>
            <a:off x="6589280" y="2776522"/>
            <a:ext cx="9009802" cy="1142874"/>
          </a:xfrm>
          <a:custGeom>
            <a:avLst/>
            <a:gdLst>
              <a:gd name="connsiteX0" fmla="*/ 1760483 w 5507421"/>
              <a:gd name="connsiteY0" fmla="*/ 0 h 6516414"/>
              <a:gd name="connsiteX1" fmla="*/ 0 w 5507421"/>
              <a:gd name="connsiteY1" fmla="*/ 6516414 h 6516414"/>
              <a:gd name="connsiteX2" fmla="*/ 3783724 w 5507421"/>
              <a:gd name="connsiteY2" fmla="*/ 6516414 h 6516414"/>
              <a:gd name="connsiteX3" fmla="*/ 5507421 w 5507421"/>
              <a:gd name="connsiteY3" fmla="*/ 47297 h 6516414"/>
              <a:gd name="connsiteX4" fmla="*/ 1760483 w 5507421"/>
              <a:gd name="connsiteY4" fmla="*/ 0 h 6516414"/>
              <a:gd name="connsiteX0" fmla="*/ 1735770 w 5507421"/>
              <a:gd name="connsiteY0" fmla="*/ 14487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735770 w 5507421"/>
              <a:gd name="connsiteY4" fmla="*/ 14487 h 6469117"/>
              <a:gd name="connsiteX0" fmla="*/ 1741948 w 5507421"/>
              <a:gd name="connsiteY0" fmla="*/ 8308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741948 w 5507421"/>
              <a:gd name="connsiteY4" fmla="*/ 8308 h 6469117"/>
              <a:gd name="connsiteX0" fmla="*/ 1605546 w 5507421"/>
              <a:gd name="connsiteY0" fmla="*/ 493293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605546 w 5507421"/>
              <a:gd name="connsiteY4" fmla="*/ 493293 h 6469117"/>
              <a:gd name="connsiteX0" fmla="*/ 1605546 w 5360915"/>
              <a:gd name="connsiteY0" fmla="*/ 0 h 5975824"/>
              <a:gd name="connsiteX1" fmla="*/ 0 w 5360915"/>
              <a:gd name="connsiteY1" fmla="*/ 5975824 h 5975824"/>
              <a:gd name="connsiteX2" fmla="*/ 3783724 w 5360915"/>
              <a:gd name="connsiteY2" fmla="*/ 5975824 h 5975824"/>
              <a:gd name="connsiteX3" fmla="*/ 5360915 w 5360915"/>
              <a:gd name="connsiteY3" fmla="*/ 11901 h 5975824"/>
              <a:gd name="connsiteX4" fmla="*/ 1605546 w 5360915"/>
              <a:gd name="connsiteY4" fmla="*/ 0 h 5975824"/>
              <a:gd name="connsiteX0" fmla="*/ 857859 w 5360915"/>
              <a:gd name="connsiteY0" fmla="*/ 0 h 5970772"/>
              <a:gd name="connsiteX1" fmla="*/ 0 w 5360915"/>
              <a:gd name="connsiteY1" fmla="*/ 5970772 h 5970772"/>
              <a:gd name="connsiteX2" fmla="*/ 3783724 w 5360915"/>
              <a:gd name="connsiteY2" fmla="*/ 5970772 h 5970772"/>
              <a:gd name="connsiteX3" fmla="*/ 5360915 w 5360915"/>
              <a:gd name="connsiteY3" fmla="*/ 6849 h 5970772"/>
              <a:gd name="connsiteX4" fmla="*/ 857859 w 5360915"/>
              <a:gd name="connsiteY4" fmla="*/ 0 h 5970772"/>
              <a:gd name="connsiteX0" fmla="*/ 1600493 w 6103549"/>
              <a:gd name="connsiteY0" fmla="*/ 0 h 5975824"/>
              <a:gd name="connsiteX1" fmla="*/ 0 w 6103549"/>
              <a:gd name="connsiteY1" fmla="*/ 5975824 h 5975824"/>
              <a:gd name="connsiteX2" fmla="*/ 4526358 w 6103549"/>
              <a:gd name="connsiteY2" fmla="*/ 5970772 h 5975824"/>
              <a:gd name="connsiteX3" fmla="*/ 6103549 w 6103549"/>
              <a:gd name="connsiteY3" fmla="*/ 6849 h 5975824"/>
              <a:gd name="connsiteX4" fmla="*/ 1600493 w 6103549"/>
              <a:gd name="connsiteY4" fmla="*/ 0 h 5975824"/>
              <a:gd name="connsiteX0" fmla="*/ 1600493 w 6103549"/>
              <a:gd name="connsiteY0" fmla="*/ 0 h 5975824"/>
              <a:gd name="connsiteX1" fmla="*/ 0 w 6103549"/>
              <a:gd name="connsiteY1" fmla="*/ 5975824 h 5975824"/>
              <a:gd name="connsiteX2" fmla="*/ 5334667 w 6103549"/>
              <a:gd name="connsiteY2" fmla="*/ 5975824 h 5975824"/>
              <a:gd name="connsiteX3" fmla="*/ 6103549 w 6103549"/>
              <a:gd name="connsiteY3" fmla="*/ 6849 h 5975824"/>
              <a:gd name="connsiteX4" fmla="*/ 1600493 w 6103549"/>
              <a:gd name="connsiteY4" fmla="*/ 0 h 5975824"/>
              <a:gd name="connsiteX0" fmla="*/ 1600493 w 6947222"/>
              <a:gd name="connsiteY0" fmla="*/ 0 h 5975824"/>
              <a:gd name="connsiteX1" fmla="*/ 0 w 6947222"/>
              <a:gd name="connsiteY1" fmla="*/ 5975824 h 5975824"/>
              <a:gd name="connsiteX2" fmla="*/ 5334667 w 6947222"/>
              <a:gd name="connsiteY2" fmla="*/ 5975824 h 5975824"/>
              <a:gd name="connsiteX3" fmla="*/ 6947222 w 6947222"/>
              <a:gd name="connsiteY3" fmla="*/ 1797 h 5975824"/>
              <a:gd name="connsiteX4" fmla="*/ 1600493 w 6947222"/>
              <a:gd name="connsiteY4" fmla="*/ 0 h 5975824"/>
              <a:gd name="connsiteX0" fmla="*/ 1600493 w 7017561"/>
              <a:gd name="connsiteY0" fmla="*/ 0 h 5975824"/>
              <a:gd name="connsiteX1" fmla="*/ 0 w 7017561"/>
              <a:gd name="connsiteY1" fmla="*/ 5975824 h 5975824"/>
              <a:gd name="connsiteX2" fmla="*/ 5334667 w 7017561"/>
              <a:gd name="connsiteY2" fmla="*/ 5975824 h 5975824"/>
              <a:gd name="connsiteX3" fmla="*/ 7017561 w 7017561"/>
              <a:gd name="connsiteY3" fmla="*/ 1797 h 5975824"/>
              <a:gd name="connsiteX4" fmla="*/ 1600493 w 7017561"/>
              <a:gd name="connsiteY4" fmla="*/ 0 h 5975824"/>
              <a:gd name="connsiteX0" fmla="*/ 1600493 w 7017561"/>
              <a:gd name="connsiteY0" fmla="*/ 0 h 5975824"/>
              <a:gd name="connsiteX1" fmla="*/ 0 w 7017561"/>
              <a:gd name="connsiteY1" fmla="*/ 5975824 h 5975824"/>
              <a:gd name="connsiteX2" fmla="*/ 7007718 w 7017561"/>
              <a:gd name="connsiteY2" fmla="*/ 5975824 h 5975824"/>
              <a:gd name="connsiteX3" fmla="*/ 7017561 w 7017561"/>
              <a:gd name="connsiteY3" fmla="*/ 1797 h 5975824"/>
              <a:gd name="connsiteX4" fmla="*/ 1600493 w 7017561"/>
              <a:gd name="connsiteY4" fmla="*/ 0 h 5975824"/>
              <a:gd name="connsiteX0" fmla="*/ 1600493 w 7007718"/>
              <a:gd name="connsiteY0" fmla="*/ 0 h 5975824"/>
              <a:gd name="connsiteX1" fmla="*/ 0 w 7007718"/>
              <a:gd name="connsiteY1" fmla="*/ 5975824 h 5975824"/>
              <a:gd name="connsiteX2" fmla="*/ 7007718 w 7007718"/>
              <a:gd name="connsiteY2" fmla="*/ 5975824 h 5975824"/>
              <a:gd name="connsiteX3" fmla="*/ 6309152 w 7007718"/>
              <a:gd name="connsiteY3" fmla="*/ 21894 h 5975824"/>
              <a:gd name="connsiteX4" fmla="*/ 1600493 w 7007718"/>
              <a:gd name="connsiteY4" fmla="*/ 0 h 5975824"/>
              <a:gd name="connsiteX0" fmla="*/ 1600493 w 6309152"/>
              <a:gd name="connsiteY0" fmla="*/ 0 h 5975824"/>
              <a:gd name="connsiteX1" fmla="*/ 0 w 6309152"/>
              <a:gd name="connsiteY1" fmla="*/ 5975824 h 5975824"/>
              <a:gd name="connsiteX2" fmla="*/ 6294285 w 6309152"/>
              <a:gd name="connsiteY2" fmla="*/ 5955727 h 5975824"/>
              <a:gd name="connsiteX3" fmla="*/ 6309152 w 6309152"/>
              <a:gd name="connsiteY3" fmla="*/ 21894 h 5975824"/>
              <a:gd name="connsiteX4" fmla="*/ 1600493 w 6309152"/>
              <a:gd name="connsiteY4" fmla="*/ 0 h 5975824"/>
              <a:gd name="connsiteX0" fmla="*/ 1600493 w 6309152"/>
              <a:gd name="connsiteY0" fmla="*/ 0 h 5985872"/>
              <a:gd name="connsiteX1" fmla="*/ 0 w 6309152"/>
              <a:gd name="connsiteY1" fmla="*/ 5975824 h 5985872"/>
              <a:gd name="connsiteX2" fmla="*/ 6289261 w 6309152"/>
              <a:gd name="connsiteY2" fmla="*/ 5985872 h 5985872"/>
              <a:gd name="connsiteX3" fmla="*/ 6309152 w 6309152"/>
              <a:gd name="connsiteY3" fmla="*/ 21894 h 5985872"/>
              <a:gd name="connsiteX4" fmla="*/ 1600493 w 6309152"/>
              <a:gd name="connsiteY4" fmla="*/ 0 h 5985872"/>
              <a:gd name="connsiteX0" fmla="*/ 1600493 w 6309152"/>
              <a:gd name="connsiteY0" fmla="*/ 0 h 5975824"/>
              <a:gd name="connsiteX1" fmla="*/ 0 w 6309152"/>
              <a:gd name="connsiteY1" fmla="*/ 5975824 h 5975824"/>
              <a:gd name="connsiteX2" fmla="*/ 6289261 w 6309152"/>
              <a:gd name="connsiteY2" fmla="*/ 5975824 h 5975824"/>
              <a:gd name="connsiteX3" fmla="*/ 6309152 w 6309152"/>
              <a:gd name="connsiteY3" fmla="*/ 21894 h 5975824"/>
              <a:gd name="connsiteX4" fmla="*/ 1600493 w 6309152"/>
              <a:gd name="connsiteY4" fmla="*/ 0 h 5975824"/>
              <a:gd name="connsiteX0" fmla="*/ 1600493 w 6304127"/>
              <a:gd name="connsiteY0" fmla="*/ 8251 h 5984075"/>
              <a:gd name="connsiteX1" fmla="*/ 0 w 6304127"/>
              <a:gd name="connsiteY1" fmla="*/ 5984075 h 5984075"/>
              <a:gd name="connsiteX2" fmla="*/ 6289261 w 6304127"/>
              <a:gd name="connsiteY2" fmla="*/ 5984075 h 5984075"/>
              <a:gd name="connsiteX3" fmla="*/ 6304127 w 6304127"/>
              <a:gd name="connsiteY3" fmla="*/ 0 h 5984075"/>
              <a:gd name="connsiteX4" fmla="*/ 1600493 w 6304127"/>
              <a:gd name="connsiteY4" fmla="*/ 8251 h 5984075"/>
              <a:gd name="connsiteX0" fmla="*/ 762784 w 5466418"/>
              <a:gd name="connsiteY0" fmla="*/ 8251 h 5984075"/>
              <a:gd name="connsiteX1" fmla="*/ 0 w 5466418"/>
              <a:gd name="connsiteY1" fmla="*/ 2857417 h 5984075"/>
              <a:gd name="connsiteX2" fmla="*/ 5451552 w 5466418"/>
              <a:gd name="connsiteY2" fmla="*/ 5984075 h 5984075"/>
              <a:gd name="connsiteX3" fmla="*/ 5466418 w 5466418"/>
              <a:gd name="connsiteY3" fmla="*/ 0 h 5984075"/>
              <a:gd name="connsiteX4" fmla="*/ 762784 w 5466418"/>
              <a:gd name="connsiteY4" fmla="*/ 8251 h 5984075"/>
              <a:gd name="connsiteX0" fmla="*/ 762784 w 5466418"/>
              <a:gd name="connsiteY0" fmla="*/ 8251 h 2857417"/>
              <a:gd name="connsiteX1" fmla="*/ 0 w 5466418"/>
              <a:gd name="connsiteY1" fmla="*/ 2857417 h 2857417"/>
              <a:gd name="connsiteX2" fmla="*/ 5457451 w 5466418"/>
              <a:gd name="connsiteY2" fmla="*/ 2845619 h 2857417"/>
              <a:gd name="connsiteX3" fmla="*/ 5466418 w 5466418"/>
              <a:gd name="connsiteY3" fmla="*/ 0 h 2857417"/>
              <a:gd name="connsiteX4" fmla="*/ 762784 w 5466418"/>
              <a:gd name="connsiteY4" fmla="*/ 8251 h 2857417"/>
              <a:gd name="connsiteX0" fmla="*/ 509112 w 5212746"/>
              <a:gd name="connsiteY0" fmla="*/ 8251 h 2845619"/>
              <a:gd name="connsiteX1" fmla="*/ 0 w 5212746"/>
              <a:gd name="connsiteY1" fmla="*/ 1919419 h 2845619"/>
              <a:gd name="connsiteX2" fmla="*/ 5203779 w 5212746"/>
              <a:gd name="connsiteY2" fmla="*/ 2845619 h 2845619"/>
              <a:gd name="connsiteX3" fmla="*/ 5212746 w 5212746"/>
              <a:gd name="connsiteY3" fmla="*/ 0 h 2845619"/>
              <a:gd name="connsiteX4" fmla="*/ 509112 w 5212746"/>
              <a:gd name="connsiteY4" fmla="*/ 8251 h 2845619"/>
              <a:gd name="connsiteX0" fmla="*/ 509112 w 5212746"/>
              <a:gd name="connsiteY0" fmla="*/ 8251 h 1919419"/>
              <a:gd name="connsiteX1" fmla="*/ 0 w 5212746"/>
              <a:gd name="connsiteY1" fmla="*/ 1919419 h 1919419"/>
              <a:gd name="connsiteX2" fmla="*/ 5197880 w 5212746"/>
              <a:gd name="connsiteY2" fmla="*/ 1901722 h 1919419"/>
              <a:gd name="connsiteX3" fmla="*/ 5212746 w 5212746"/>
              <a:gd name="connsiteY3" fmla="*/ 0 h 1919419"/>
              <a:gd name="connsiteX4" fmla="*/ 509112 w 5212746"/>
              <a:gd name="connsiteY4" fmla="*/ 8251 h 1919419"/>
              <a:gd name="connsiteX0" fmla="*/ 509112 w 5212746"/>
              <a:gd name="connsiteY0" fmla="*/ 8251 h 1919419"/>
              <a:gd name="connsiteX1" fmla="*/ 0 w 5212746"/>
              <a:gd name="connsiteY1" fmla="*/ 1919419 h 1919419"/>
              <a:gd name="connsiteX2" fmla="*/ 5197880 w 5212746"/>
              <a:gd name="connsiteY2" fmla="*/ 1913521 h 1919419"/>
              <a:gd name="connsiteX3" fmla="*/ 5212746 w 5212746"/>
              <a:gd name="connsiteY3" fmla="*/ 0 h 1919419"/>
              <a:gd name="connsiteX4" fmla="*/ 509112 w 5212746"/>
              <a:gd name="connsiteY4" fmla="*/ 8251 h 1919419"/>
              <a:gd name="connsiteX0" fmla="*/ 302635 w 5006269"/>
              <a:gd name="connsiteY0" fmla="*/ 8251 h 1913521"/>
              <a:gd name="connsiteX1" fmla="*/ 0 w 5006269"/>
              <a:gd name="connsiteY1" fmla="*/ 1128906 h 1913521"/>
              <a:gd name="connsiteX2" fmla="*/ 4991403 w 5006269"/>
              <a:gd name="connsiteY2" fmla="*/ 1913521 h 1913521"/>
              <a:gd name="connsiteX3" fmla="*/ 5006269 w 5006269"/>
              <a:gd name="connsiteY3" fmla="*/ 0 h 1913521"/>
              <a:gd name="connsiteX4" fmla="*/ 302635 w 5006269"/>
              <a:gd name="connsiteY4" fmla="*/ 8251 h 1913521"/>
              <a:gd name="connsiteX0" fmla="*/ 302635 w 5006269"/>
              <a:gd name="connsiteY0" fmla="*/ 8251 h 1128906"/>
              <a:gd name="connsiteX1" fmla="*/ 0 w 5006269"/>
              <a:gd name="connsiteY1" fmla="*/ 1128906 h 1128906"/>
              <a:gd name="connsiteX2" fmla="*/ 5003202 w 5006269"/>
              <a:gd name="connsiteY2" fmla="*/ 1117108 h 1128906"/>
              <a:gd name="connsiteX3" fmla="*/ 5006269 w 5006269"/>
              <a:gd name="connsiteY3" fmla="*/ 0 h 1128906"/>
              <a:gd name="connsiteX4" fmla="*/ 302635 w 5006269"/>
              <a:gd name="connsiteY4" fmla="*/ 8251 h 1128906"/>
              <a:gd name="connsiteX0" fmla="*/ 302635 w 5003220"/>
              <a:gd name="connsiteY0" fmla="*/ 8251 h 1128906"/>
              <a:gd name="connsiteX1" fmla="*/ 0 w 5003220"/>
              <a:gd name="connsiteY1" fmla="*/ 1128906 h 1128906"/>
              <a:gd name="connsiteX2" fmla="*/ 5003202 w 5003220"/>
              <a:gd name="connsiteY2" fmla="*/ 1117108 h 1128906"/>
              <a:gd name="connsiteX3" fmla="*/ 4025481 w 5003220"/>
              <a:gd name="connsiteY3" fmla="*/ 0 h 1128906"/>
              <a:gd name="connsiteX4" fmla="*/ 302635 w 5003220"/>
              <a:gd name="connsiteY4" fmla="*/ 8251 h 1128906"/>
              <a:gd name="connsiteX0" fmla="*/ 302635 w 4025482"/>
              <a:gd name="connsiteY0" fmla="*/ 8251 h 1128906"/>
              <a:gd name="connsiteX1" fmla="*/ 0 w 4025482"/>
              <a:gd name="connsiteY1" fmla="*/ 1128906 h 1128906"/>
              <a:gd name="connsiteX2" fmla="*/ 4022414 w 4025482"/>
              <a:gd name="connsiteY2" fmla="*/ 1123646 h 1128906"/>
              <a:gd name="connsiteX3" fmla="*/ 4025481 w 4025482"/>
              <a:gd name="connsiteY3" fmla="*/ 0 h 1128906"/>
              <a:gd name="connsiteX4" fmla="*/ 302635 w 4025482"/>
              <a:gd name="connsiteY4" fmla="*/ 8251 h 1128906"/>
              <a:gd name="connsiteX0" fmla="*/ 446485 w 4025481"/>
              <a:gd name="connsiteY0" fmla="*/ 0 h 1689512"/>
              <a:gd name="connsiteX1" fmla="*/ 0 w 4025481"/>
              <a:gd name="connsiteY1" fmla="*/ 1689512 h 1689512"/>
              <a:gd name="connsiteX2" fmla="*/ 4022414 w 4025481"/>
              <a:gd name="connsiteY2" fmla="*/ 1684252 h 1689512"/>
              <a:gd name="connsiteX3" fmla="*/ 4025481 w 4025481"/>
              <a:gd name="connsiteY3" fmla="*/ 560606 h 1689512"/>
              <a:gd name="connsiteX4" fmla="*/ 446485 w 4025481"/>
              <a:gd name="connsiteY4" fmla="*/ 0 h 1689512"/>
              <a:gd name="connsiteX0" fmla="*/ 446485 w 4023534"/>
              <a:gd name="connsiteY0" fmla="*/ 27866 h 1717378"/>
              <a:gd name="connsiteX1" fmla="*/ 0 w 4023534"/>
              <a:gd name="connsiteY1" fmla="*/ 1717378 h 1717378"/>
              <a:gd name="connsiteX2" fmla="*/ 4022414 w 4023534"/>
              <a:gd name="connsiteY2" fmla="*/ 1712118 h 1717378"/>
              <a:gd name="connsiteX3" fmla="*/ 4018943 w 4023534"/>
              <a:gd name="connsiteY3" fmla="*/ 0 h 1717378"/>
              <a:gd name="connsiteX4" fmla="*/ 446485 w 4023534"/>
              <a:gd name="connsiteY4" fmla="*/ 27866 h 1717378"/>
              <a:gd name="connsiteX0" fmla="*/ 446485 w 4023534"/>
              <a:gd name="connsiteY0" fmla="*/ 1712 h 1717378"/>
              <a:gd name="connsiteX1" fmla="*/ 0 w 4023534"/>
              <a:gd name="connsiteY1" fmla="*/ 1717378 h 1717378"/>
              <a:gd name="connsiteX2" fmla="*/ 4022414 w 4023534"/>
              <a:gd name="connsiteY2" fmla="*/ 1712118 h 1717378"/>
              <a:gd name="connsiteX3" fmla="*/ 4018943 w 4023534"/>
              <a:gd name="connsiteY3" fmla="*/ 0 h 1717378"/>
              <a:gd name="connsiteX4" fmla="*/ 446485 w 4023534"/>
              <a:gd name="connsiteY4" fmla="*/ 1712 h 1717378"/>
              <a:gd name="connsiteX0" fmla="*/ 0 w 4047827"/>
              <a:gd name="connsiteY0" fmla="*/ 1712 h 1717378"/>
              <a:gd name="connsiteX1" fmla="*/ 24293 w 4047827"/>
              <a:gd name="connsiteY1" fmla="*/ 1717378 h 1717378"/>
              <a:gd name="connsiteX2" fmla="*/ 4046707 w 4047827"/>
              <a:gd name="connsiteY2" fmla="*/ 1712118 h 1717378"/>
              <a:gd name="connsiteX3" fmla="*/ 4043236 w 4047827"/>
              <a:gd name="connsiteY3" fmla="*/ 0 h 1717378"/>
              <a:gd name="connsiteX4" fmla="*/ 0 w 4047827"/>
              <a:gd name="connsiteY4" fmla="*/ 1712 h 1717378"/>
              <a:gd name="connsiteX0" fmla="*/ 439947 w 4487774"/>
              <a:gd name="connsiteY0" fmla="*/ 1712 h 1717378"/>
              <a:gd name="connsiteX1" fmla="*/ 0 w 4487774"/>
              <a:gd name="connsiteY1" fmla="*/ 1717378 h 1717378"/>
              <a:gd name="connsiteX2" fmla="*/ 4486654 w 4487774"/>
              <a:gd name="connsiteY2" fmla="*/ 1712118 h 1717378"/>
              <a:gd name="connsiteX3" fmla="*/ 4483183 w 4487774"/>
              <a:gd name="connsiteY3" fmla="*/ 0 h 1717378"/>
              <a:gd name="connsiteX4" fmla="*/ 439947 w 4487774"/>
              <a:gd name="connsiteY4" fmla="*/ 1712 h 1717378"/>
              <a:gd name="connsiteX0" fmla="*/ 439947 w 4493992"/>
              <a:gd name="connsiteY0" fmla="*/ 1712 h 1717378"/>
              <a:gd name="connsiteX1" fmla="*/ 0 w 4493992"/>
              <a:gd name="connsiteY1" fmla="*/ 1717378 h 1717378"/>
              <a:gd name="connsiteX2" fmla="*/ 4493194 w 4493992"/>
              <a:gd name="connsiteY2" fmla="*/ 1267493 h 1717378"/>
              <a:gd name="connsiteX3" fmla="*/ 4483183 w 4493992"/>
              <a:gd name="connsiteY3" fmla="*/ 0 h 1717378"/>
              <a:gd name="connsiteX4" fmla="*/ 439947 w 4493992"/>
              <a:gd name="connsiteY4" fmla="*/ 1712 h 1717378"/>
              <a:gd name="connsiteX0" fmla="*/ 322253 w 4376298"/>
              <a:gd name="connsiteY0" fmla="*/ 1712 h 1267493"/>
              <a:gd name="connsiteX1" fmla="*/ 0 w 4376298"/>
              <a:gd name="connsiteY1" fmla="*/ 1253139 h 1267493"/>
              <a:gd name="connsiteX2" fmla="*/ 4375500 w 4376298"/>
              <a:gd name="connsiteY2" fmla="*/ 1267493 h 1267493"/>
              <a:gd name="connsiteX3" fmla="*/ 4365489 w 4376298"/>
              <a:gd name="connsiteY3" fmla="*/ 0 h 1267493"/>
              <a:gd name="connsiteX4" fmla="*/ 322253 w 4376298"/>
              <a:gd name="connsiteY4" fmla="*/ 1712 h 1267493"/>
              <a:gd name="connsiteX0" fmla="*/ 322253 w 4376298"/>
              <a:gd name="connsiteY0" fmla="*/ 1712 h 1267493"/>
              <a:gd name="connsiteX1" fmla="*/ 0 w 4376298"/>
              <a:gd name="connsiteY1" fmla="*/ 1259678 h 1267493"/>
              <a:gd name="connsiteX2" fmla="*/ 4375500 w 4376298"/>
              <a:gd name="connsiteY2" fmla="*/ 1267493 h 1267493"/>
              <a:gd name="connsiteX3" fmla="*/ 4365489 w 4376298"/>
              <a:gd name="connsiteY3" fmla="*/ 0 h 1267493"/>
              <a:gd name="connsiteX4" fmla="*/ 322253 w 4376298"/>
              <a:gd name="connsiteY4" fmla="*/ 1712 h 1267493"/>
              <a:gd name="connsiteX0" fmla="*/ 322253 w 4376298"/>
              <a:gd name="connsiteY0" fmla="*/ 1712 h 1272754"/>
              <a:gd name="connsiteX1" fmla="*/ 0 w 4376298"/>
              <a:gd name="connsiteY1" fmla="*/ 1272754 h 1272754"/>
              <a:gd name="connsiteX2" fmla="*/ 4375500 w 4376298"/>
              <a:gd name="connsiteY2" fmla="*/ 1267493 h 1272754"/>
              <a:gd name="connsiteX3" fmla="*/ 4365489 w 4376298"/>
              <a:gd name="connsiteY3" fmla="*/ 0 h 1272754"/>
              <a:gd name="connsiteX4" fmla="*/ 322253 w 4376298"/>
              <a:gd name="connsiteY4" fmla="*/ 1712 h 1272754"/>
              <a:gd name="connsiteX0" fmla="*/ 322253 w 4371261"/>
              <a:gd name="connsiteY0" fmla="*/ 1712 h 1272754"/>
              <a:gd name="connsiteX1" fmla="*/ 0 w 4371261"/>
              <a:gd name="connsiteY1" fmla="*/ 1272754 h 1272754"/>
              <a:gd name="connsiteX2" fmla="*/ 4370221 w 4371261"/>
              <a:gd name="connsiteY2" fmla="*/ 1269253 h 1272754"/>
              <a:gd name="connsiteX3" fmla="*/ 4365489 w 4371261"/>
              <a:gd name="connsiteY3" fmla="*/ 0 h 1272754"/>
              <a:gd name="connsiteX4" fmla="*/ 322253 w 437126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32811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32811 w 4370221"/>
              <a:gd name="connsiteY4" fmla="*/ 1712 h 1272754"/>
              <a:gd name="connsiteX0" fmla="*/ 0 w 4384034"/>
              <a:gd name="connsiteY0" fmla="*/ 1712 h 1272754"/>
              <a:gd name="connsiteX1" fmla="*/ 13813 w 4384034"/>
              <a:gd name="connsiteY1" fmla="*/ 1272754 h 1272754"/>
              <a:gd name="connsiteX2" fmla="*/ 4384034 w 4384034"/>
              <a:gd name="connsiteY2" fmla="*/ 1269253 h 1272754"/>
              <a:gd name="connsiteX3" fmla="*/ 4379302 w 4384034"/>
              <a:gd name="connsiteY3" fmla="*/ 0 h 1272754"/>
              <a:gd name="connsiteX4" fmla="*/ 0 w 4384034"/>
              <a:gd name="connsiteY4" fmla="*/ 1712 h 1272754"/>
              <a:gd name="connsiteX0" fmla="*/ 316976 w 4701010"/>
              <a:gd name="connsiteY0" fmla="*/ 1712 h 1272754"/>
              <a:gd name="connsiteX1" fmla="*/ 0 w 4701010"/>
              <a:gd name="connsiteY1" fmla="*/ 1272754 h 1272754"/>
              <a:gd name="connsiteX2" fmla="*/ 4701010 w 4701010"/>
              <a:gd name="connsiteY2" fmla="*/ 1269253 h 1272754"/>
              <a:gd name="connsiteX3" fmla="*/ 4696278 w 4701010"/>
              <a:gd name="connsiteY3" fmla="*/ 0 h 1272754"/>
              <a:gd name="connsiteX4" fmla="*/ 316976 w 4701010"/>
              <a:gd name="connsiteY4" fmla="*/ 1712 h 1272754"/>
              <a:gd name="connsiteX0" fmla="*/ 343369 w 4727403"/>
              <a:gd name="connsiteY0" fmla="*/ 1712 h 1274514"/>
              <a:gd name="connsiteX1" fmla="*/ 0 w 4727403"/>
              <a:gd name="connsiteY1" fmla="*/ 1274514 h 1274514"/>
              <a:gd name="connsiteX2" fmla="*/ 4727403 w 4727403"/>
              <a:gd name="connsiteY2" fmla="*/ 1269253 h 1274514"/>
              <a:gd name="connsiteX3" fmla="*/ 4722671 w 4727403"/>
              <a:gd name="connsiteY3" fmla="*/ 0 h 1274514"/>
              <a:gd name="connsiteX4" fmla="*/ 343369 w 4727403"/>
              <a:gd name="connsiteY4" fmla="*/ 1712 h 1274514"/>
              <a:gd name="connsiteX0" fmla="*/ 343369 w 4730922"/>
              <a:gd name="connsiteY0" fmla="*/ 1712 h 2022324"/>
              <a:gd name="connsiteX1" fmla="*/ 0 w 4730922"/>
              <a:gd name="connsiteY1" fmla="*/ 1274514 h 2022324"/>
              <a:gd name="connsiteX2" fmla="*/ 4730922 w 4730922"/>
              <a:gd name="connsiteY2" fmla="*/ 2022324 h 2022324"/>
              <a:gd name="connsiteX3" fmla="*/ 4722671 w 4730922"/>
              <a:gd name="connsiteY3" fmla="*/ 0 h 2022324"/>
              <a:gd name="connsiteX4" fmla="*/ 343369 w 4730922"/>
              <a:gd name="connsiteY4" fmla="*/ 1712 h 2022324"/>
              <a:gd name="connsiteX0" fmla="*/ 550992 w 4938545"/>
              <a:gd name="connsiteY0" fmla="*/ 1712 h 2038142"/>
              <a:gd name="connsiteX1" fmla="*/ 0 w 4938545"/>
              <a:gd name="connsiteY1" fmla="*/ 2038142 h 2038142"/>
              <a:gd name="connsiteX2" fmla="*/ 4938545 w 4938545"/>
              <a:gd name="connsiteY2" fmla="*/ 2022324 h 2038142"/>
              <a:gd name="connsiteX3" fmla="*/ 4930294 w 4938545"/>
              <a:gd name="connsiteY3" fmla="*/ 0 h 2038142"/>
              <a:gd name="connsiteX4" fmla="*/ 550992 w 4938545"/>
              <a:gd name="connsiteY4" fmla="*/ 1712 h 2038142"/>
              <a:gd name="connsiteX0" fmla="*/ 470050 w 4938545"/>
              <a:gd name="connsiteY0" fmla="*/ 1712 h 2038142"/>
              <a:gd name="connsiteX1" fmla="*/ 0 w 4938545"/>
              <a:gd name="connsiteY1" fmla="*/ 2038142 h 2038142"/>
              <a:gd name="connsiteX2" fmla="*/ 4938545 w 4938545"/>
              <a:gd name="connsiteY2" fmla="*/ 2022324 h 2038142"/>
              <a:gd name="connsiteX3" fmla="*/ 4930294 w 4938545"/>
              <a:gd name="connsiteY3" fmla="*/ 0 h 2038142"/>
              <a:gd name="connsiteX4" fmla="*/ 470050 w 4938545"/>
              <a:gd name="connsiteY4" fmla="*/ 1712 h 2038142"/>
              <a:gd name="connsiteX0" fmla="*/ 470050 w 5097979"/>
              <a:gd name="connsiteY0" fmla="*/ 8566 h 2044996"/>
              <a:gd name="connsiteX1" fmla="*/ 0 w 5097979"/>
              <a:gd name="connsiteY1" fmla="*/ 2044996 h 2044996"/>
              <a:gd name="connsiteX2" fmla="*/ 4938545 w 5097979"/>
              <a:gd name="connsiteY2" fmla="*/ 2029178 h 2044996"/>
              <a:gd name="connsiteX3" fmla="*/ 5097960 w 5097979"/>
              <a:gd name="connsiteY3" fmla="*/ 0 h 2044996"/>
              <a:gd name="connsiteX4" fmla="*/ 470050 w 5097979"/>
              <a:gd name="connsiteY4" fmla="*/ 8566 h 2044996"/>
              <a:gd name="connsiteX0" fmla="*/ 470050 w 5100430"/>
              <a:gd name="connsiteY0" fmla="*/ 8566 h 2044996"/>
              <a:gd name="connsiteX1" fmla="*/ 0 w 5100430"/>
              <a:gd name="connsiteY1" fmla="*/ 2044996 h 2044996"/>
              <a:gd name="connsiteX2" fmla="*/ 5100430 w 5100430"/>
              <a:gd name="connsiteY2" fmla="*/ 2029178 h 2044996"/>
              <a:gd name="connsiteX3" fmla="*/ 5097960 w 5100430"/>
              <a:gd name="connsiteY3" fmla="*/ 0 h 2044996"/>
              <a:gd name="connsiteX4" fmla="*/ 470050 w 5100430"/>
              <a:gd name="connsiteY4" fmla="*/ 8566 h 2044996"/>
              <a:gd name="connsiteX0" fmla="*/ 348636 w 4979016"/>
              <a:gd name="connsiteY0" fmla="*/ 8566 h 2029178"/>
              <a:gd name="connsiteX1" fmla="*/ 0 w 4979016"/>
              <a:gd name="connsiteY1" fmla="*/ 1613242 h 2029178"/>
              <a:gd name="connsiteX2" fmla="*/ 4979016 w 4979016"/>
              <a:gd name="connsiteY2" fmla="*/ 2029178 h 2029178"/>
              <a:gd name="connsiteX3" fmla="*/ 4976546 w 4979016"/>
              <a:gd name="connsiteY3" fmla="*/ 0 h 2029178"/>
              <a:gd name="connsiteX4" fmla="*/ 348636 w 4979016"/>
              <a:gd name="connsiteY4" fmla="*/ 8566 h 2029178"/>
              <a:gd name="connsiteX0" fmla="*/ 348636 w 4976855"/>
              <a:gd name="connsiteY0" fmla="*/ 8566 h 1613242"/>
              <a:gd name="connsiteX1" fmla="*/ 0 w 4976855"/>
              <a:gd name="connsiteY1" fmla="*/ 1613242 h 1613242"/>
              <a:gd name="connsiteX2" fmla="*/ 4973235 w 4976855"/>
              <a:gd name="connsiteY2" fmla="*/ 1611131 h 1613242"/>
              <a:gd name="connsiteX3" fmla="*/ 4976546 w 4976855"/>
              <a:gd name="connsiteY3" fmla="*/ 0 h 1613242"/>
              <a:gd name="connsiteX4" fmla="*/ 348636 w 4976855"/>
              <a:gd name="connsiteY4" fmla="*/ 8566 h 1613242"/>
              <a:gd name="connsiteX0" fmla="*/ 6798 w 4976855"/>
              <a:gd name="connsiteY0" fmla="*/ 0 h 1616249"/>
              <a:gd name="connsiteX1" fmla="*/ 0 w 4976855"/>
              <a:gd name="connsiteY1" fmla="*/ 1616249 h 1616249"/>
              <a:gd name="connsiteX2" fmla="*/ 4973235 w 4976855"/>
              <a:gd name="connsiteY2" fmla="*/ 1614138 h 1616249"/>
              <a:gd name="connsiteX3" fmla="*/ 4976546 w 4976855"/>
              <a:gd name="connsiteY3" fmla="*/ 3007 h 1616249"/>
              <a:gd name="connsiteX4" fmla="*/ 6798 w 4976855"/>
              <a:gd name="connsiteY4" fmla="*/ 0 h 1616249"/>
              <a:gd name="connsiteX0" fmla="*/ 265164 w 5235221"/>
              <a:gd name="connsiteY0" fmla="*/ 0 h 1614138"/>
              <a:gd name="connsiteX1" fmla="*/ 0 w 5235221"/>
              <a:gd name="connsiteY1" fmla="*/ 1610462 h 1614138"/>
              <a:gd name="connsiteX2" fmla="*/ 5231601 w 5235221"/>
              <a:gd name="connsiteY2" fmla="*/ 1614138 h 1614138"/>
              <a:gd name="connsiteX3" fmla="*/ 5234912 w 5235221"/>
              <a:gd name="connsiteY3" fmla="*/ 3007 h 1614138"/>
              <a:gd name="connsiteX4" fmla="*/ 265164 w 5235221"/>
              <a:gd name="connsiteY4" fmla="*/ 0 h 1614138"/>
              <a:gd name="connsiteX0" fmla="*/ 285038 w 5255095"/>
              <a:gd name="connsiteY0" fmla="*/ 0 h 1614138"/>
              <a:gd name="connsiteX1" fmla="*/ 0 w 5255095"/>
              <a:gd name="connsiteY1" fmla="*/ 1598888 h 1614138"/>
              <a:gd name="connsiteX2" fmla="*/ 5251475 w 5255095"/>
              <a:gd name="connsiteY2" fmla="*/ 1614138 h 1614138"/>
              <a:gd name="connsiteX3" fmla="*/ 5254786 w 5255095"/>
              <a:gd name="connsiteY3" fmla="*/ 3007 h 1614138"/>
              <a:gd name="connsiteX4" fmla="*/ 285038 w 5255095"/>
              <a:gd name="connsiteY4" fmla="*/ 0 h 1614138"/>
              <a:gd name="connsiteX0" fmla="*/ 265164 w 5235221"/>
              <a:gd name="connsiteY0" fmla="*/ 0 h 1614138"/>
              <a:gd name="connsiteX1" fmla="*/ 0 w 5235221"/>
              <a:gd name="connsiteY1" fmla="*/ 1604675 h 1614138"/>
              <a:gd name="connsiteX2" fmla="*/ 5231601 w 5235221"/>
              <a:gd name="connsiteY2" fmla="*/ 1614138 h 1614138"/>
              <a:gd name="connsiteX3" fmla="*/ 5234912 w 5235221"/>
              <a:gd name="connsiteY3" fmla="*/ 3007 h 1614138"/>
              <a:gd name="connsiteX4" fmla="*/ 265164 w 5235221"/>
              <a:gd name="connsiteY4" fmla="*/ 0 h 1614138"/>
              <a:gd name="connsiteX0" fmla="*/ 292988 w 5263045"/>
              <a:gd name="connsiteY0" fmla="*/ 0 h 1614138"/>
              <a:gd name="connsiteX1" fmla="*/ 0 w 5263045"/>
              <a:gd name="connsiteY1" fmla="*/ 1610462 h 1614138"/>
              <a:gd name="connsiteX2" fmla="*/ 5259425 w 5263045"/>
              <a:gd name="connsiteY2" fmla="*/ 1614138 h 1614138"/>
              <a:gd name="connsiteX3" fmla="*/ 5262736 w 5263045"/>
              <a:gd name="connsiteY3" fmla="*/ 3007 h 1614138"/>
              <a:gd name="connsiteX4" fmla="*/ 292988 w 5263045"/>
              <a:gd name="connsiteY4" fmla="*/ 0 h 1614138"/>
              <a:gd name="connsiteX0" fmla="*/ 292988 w 8096190"/>
              <a:gd name="connsiteY0" fmla="*/ 0 h 1614138"/>
              <a:gd name="connsiteX1" fmla="*/ 0 w 8096190"/>
              <a:gd name="connsiteY1" fmla="*/ 1610462 h 1614138"/>
              <a:gd name="connsiteX2" fmla="*/ 8096190 w 8096190"/>
              <a:gd name="connsiteY2" fmla="*/ 1614138 h 1614138"/>
              <a:gd name="connsiteX3" fmla="*/ 5262736 w 8096190"/>
              <a:gd name="connsiteY3" fmla="*/ 3007 h 1614138"/>
              <a:gd name="connsiteX4" fmla="*/ 292988 w 8096190"/>
              <a:gd name="connsiteY4" fmla="*/ 0 h 1614138"/>
              <a:gd name="connsiteX0" fmla="*/ 292988 w 8096190"/>
              <a:gd name="connsiteY0" fmla="*/ 9248 h 1623386"/>
              <a:gd name="connsiteX1" fmla="*/ 0 w 8096190"/>
              <a:gd name="connsiteY1" fmla="*/ 1619710 h 1623386"/>
              <a:gd name="connsiteX2" fmla="*/ 8096190 w 8096190"/>
              <a:gd name="connsiteY2" fmla="*/ 1623386 h 1623386"/>
              <a:gd name="connsiteX3" fmla="*/ 8091085 w 8096190"/>
              <a:gd name="connsiteY3" fmla="*/ 0 h 1623386"/>
              <a:gd name="connsiteX4" fmla="*/ 292988 w 8096190"/>
              <a:gd name="connsiteY4" fmla="*/ 9248 h 1623386"/>
              <a:gd name="connsiteX0" fmla="*/ 292988 w 8096190"/>
              <a:gd name="connsiteY0" fmla="*/ 0 h 1614138"/>
              <a:gd name="connsiteX1" fmla="*/ 0 w 8096190"/>
              <a:gd name="connsiteY1" fmla="*/ 1610462 h 1614138"/>
              <a:gd name="connsiteX2" fmla="*/ 8096190 w 8096190"/>
              <a:gd name="connsiteY2" fmla="*/ 1614138 h 1614138"/>
              <a:gd name="connsiteX3" fmla="*/ 8082667 w 8096190"/>
              <a:gd name="connsiteY3" fmla="*/ 15264 h 1614138"/>
              <a:gd name="connsiteX4" fmla="*/ 292988 w 8096190"/>
              <a:gd name="connsiteY4" fmla="*/ 0 h 1614138"/>
              <a:gd name="connsiteX0" fmla="*/ 292988 w 8476493"/>
              <a:gd name="connsiteY0" fmla="*/ 0 h 1614138"/>
              <a:gd name="connsiteX1" fmla="*/ 0 w 8476493"/>
              <a:gd name="connsiteY1" fmla="*/ 1610462 h 1614138"/>
              <a:gd name="connsiteX2" fmla="*/ 8096190 w 8476493"/>
              <a:gd name="connsiteY2" fmla="*/ 1614138 h 1614138"/>
              <a:gd name="connsiteX3" fmla="*/ 8476485 w 8476493"/>
              <a:gd name="connsiteY3" fmla="*/ 15265 h 1614138"/>
              <a:gd name="connsiteX4" fmla="*/ 292988 w 8476493"/>
              <a:gd name="connsiteY4" fmla="*/ 0 h 1614138"/>
              <a:gd name="connsiteX0" fmla="*/ 292988 w 8490007"/>
              <a:gd name="connsiteY0" fmla="*/ 0 h 1610463"/>
              <a:gd name="connsiteX1" fmla="*/ 0 w 8490007"/>
              <a:gd name="connsiteY1" fmla="*/ 1610462 h 1610463"/>
              <a:gd name="connsiteX2" fmla="*/ 8490007 w 8490007"/>
              <a:gd name="connsiteY2" fmla="*/ 1588654 h 1610463"/>
              <a:gd name="connsiteX3" fmla="*/ 8476485 w 8490007"/>
              <a:gd name="connsiteY3" fmla="*/ 15265 h 1610463"/>
              <a:gd name="connsiteX4" fmla="*/ 292988 w 8490007"/>
              <a:gd name="connsiteY4" fmla="*/ 0 h 1610463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15265 h 1610462"/>
              <a:gd name="connsiteX4" fmla="*/ 292988 w 8481255"/>
              <a:gd name="connsiteY4" fmla="*/ 0 h 1610462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15265 h 1610462"/>
              <a:gd name="connsiteX4" fmla="*/ 292988 w 8481255"/>
              <a:gd name="connsiteY4" fmla="*/ 0 h 1610462"/>
              <a:gd name="connsiteX0" fmla="*/ 292988 w 8481255"/>
              <a:gd name="connsiteY0" fmla="*/ 10218 h 1620680"/>
              <a:gd name="connsiteX1" fmla="*/ 0 w 8481255"/>
              <a:gd name="connsiteY1" fmla="*/ 1620680 h 1620680"/>
              <a:gd name="connsiteX2" fmla="*/ 8481255 w 8481255"/>
              <a:gd name="connsiteY2" fmla="*/ 1598873 h 1620680"/>
              <a:gd name="connsiteX3" fmla="*/ 8476485 w 8481255"/>
              <a:gd name="connsiteY3" fmla="*/ 0 h 1620680"/>
              <a:gd name="connsiteX4" fmla="*/ 292988 w 8481255"/>
              <a:gd name="connsiteY4" fmla="*/ 10218 h 1620680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2524 h 1610462"/>
              <a:gd name="connsiteX4" fmla="*/ 292988 w 8481255"/>
              <a:gd name="connsiteY4" fmla="*/ 0 h 1610462"/>
              <a:gd name="connsiteX0" fmla="*/ 292988 w 8476598"/>
              <a:gd name="connsiteY0" fmla="*/ 0 h 1610462"/>
              <a:gd name="connsiteX1" fmla="*/ 0 w 8476598"/>
              <a:gd name="connsiteY1" fmla="*/ 1610462 h 1610462"/>
              <a:gd name="connsiteX2" fmla="*/ 8455001 w 8476598"/>
              <a:gd name="connsiteY2" fmla="*/ 1601397 h 1610462"/>
              <a:gd name="connsiteX3" fmla="*/ 8476485 w 8476598"/>
              <a:gd name="connsiteY3" fmla="*/ 2524 h 1610462"/>
              <a:gd name="connsiteX4" fmla="*/ 292988 w 8476598"/>
              <a:gd name="connsiteY4" fmla="*/ 0 h 1610462"/>
              <a:gd name="connsiteX0" fmla="*/ 292988 w 8481256"/>
              <a:gd name="connsiteY0" fmla="*/ 0 h 1610462"/>
              <a:gd name="connsiteX1" fmla="*/ 0 w 8481256"/>
              <a:gd name="connsiteY1" fmla="*/ 1610462 h 1610462"/>
              <a:gd name="connsiteX2" fmla="*/ 8481256 w 8481256"/>
              <a:gd name="connsiteY2" fmla="*/ 1588655 h 1610462"/>
              <a:gd name="connsiteX3" fmla="*/ 8476485 w 8481256"/>
              <a:gd name="connsiteY3" fmla="*/ 2524 h 1610462"/>
              <a:gd name="connsiteX4" fmla="*/ 292988 w 8481256"/>
              <a:gd name="connsiteY4" fmla="*/ 0 h 1610462"/>
              <a:gd name="connsiteX0" fmla="*/ 292988 w 8481256"/>
              <a:gd name="connsiteY0" fmla="*/ 0 h 1626879"/>
              <a:gd name="connsiteX1" fmla="*/ 0 w 8481256"/>
              <a:gd name="connsiteY1" fmla="*/ 1610462 h 1626879"/>
              <a:gd name="connsiteX2" fmla="*/ 8481256 w 8481256"/>
              <a:gd name="connsiteY2" fmla="*/ 1626879 h 1626879"/>
              <a:gd name="connsiteX3" fmla="*/ 8476485 w 8481256"/>
              <a:gd name="connsiteY3" fmla="*/ 2524 h 1626879"/>
              <a:gd name="connsiteX4" fmla="*/ 292988 w 8481256"/>
              <a:gd name="connsiteY4" fmla="*/ 0 h 1626879"/>
              <a:gd name="connsiteX0" fmla="*/ 292988 w 8481256"/>
              <a:gd name="connsiteY0" fmla="*/ 0 h 1626879"/>
              <a:gd name="connsiteX1" fmla="*/ 0 w 8481256"/>
              <a:gd name="connsiteY1" fmla="*/ 1610462 h 1626879"/>
              <a:gd name="connsiteX2" fmla="*/ 8481256 w 8481256"/>
              <a:gd name="connsiteY2" fmla="*/ 1626879 h 1626879"/>
              <a:gd name="connsiteX3" fmla="*/ 8476485 w 8481256"/>
              <a:gd name="connsiteY3" fmla="*/ 2524 h 1626879"/>
              <a:gd name="connsiteX4" fmla="*/ 292988 w 8481256"/>
              <a:gd name="connsiteY4" fmla="*/ 0 h 1626879"/>
              <a:gd name="connsiteX0" fmla="*/ 292988 w 8481256"/>
              <a:gd name="connsiteY0" fmla="*/ 0 h 1614137"/>
              <a:gd name="connsiteX1" fmla="*/ 0 w 8481256"/>
              <a:gd name="connsiteY1" fmla="*/ 1610462 h 1614137"/>
              <a:gd name="connsiteX2" fmla="*/ 8481256 w 8481256"/>
              <a:gd name="connsiteY2" fmla="*/ 1614137 h 1614137"/>
              <a:gd name="connsiteX3" fmla="*/ 8476485 w 8481256"/>
              <a:gd name="connsiteY3" fmla="*/ 2524 h 1614137"/>
              <a:gd name="connsiteX4" fmla="*/ 292988 w 8481256"/>
              <a:gd name="connsiteY4" fmla="*/ 0 h 1614137"/>
              <a:gd name="connsiteX0" fmla="*/ 292988 w 8809051"/>
              <a:gd name="connsiteY0" fmla="*/ 10218 h 1624355"/>
              <a:gd name="connsiteX1" fmla="*/ 0 w 8809051"/>
              <a:gd name="connsiteY1" fmla="*/ 1620680 h 1624355"/>
              <a:gd name="connsiteX2" fmla="*/ 8481256 w 8809051"/>
              <a:gd name="connsiteY2" fmla="*/ 1624355 h 1624355"/>
              <a:gd name="connsiteX3" fmla="*/ 8809042 w 8809051"/>
              <a:gd name="connsiteY3" fmla="*/ 0 h 1624355"/>
              <a:gd name="connsiteX4" fmla="*/ 292988 w 8809051"/>
              <a:gd name="connsiteY4" fmla="*/ 10218 h 1624355"/>
              <a:gd name="connsiteX0" fmla="*/ 292988 w 8822565"/>
              <a:gd name="connsiteY0" fmla="*/ 10218 h 1624355"/>
              <a:gd name="connsiteX1" fmla="*/ 0 w 8822565"/>
              <a:gd name="connsiteY1" fmla="*/ 1620680 h 1624355"/>
              <a:gd name="connsiteX2" fmla="*/ 8822565 w 8822565"/>
              <a:gd name="connsiteY2" fmla="*/ 1624355 h 1624355"/>
              <a:gd name="connsiteX3" fmla="*/ 8809042 w 8822565"/>
              <a:gd name="connsiteY3" fmla="*/ 0 h 1624355"/>
              <a:gd name="connsiteX4" fmla="*/ 292988 w 8822565"/>
              <a:gd name="connsiteY4" fmla="*/ 10218 h 1624355"/>
              <a:gd name="connsiteX0" fmla="*/ 292988 w 8813267"/>
              <a:gd name="connsiteY0" fmla="*/ 10218 h 1631123"/>
              <a:gd name="connsiteX1" fmla="*/ 0 w 8813267"/>
              <a:gd name="connsiteY1" fmla="*/ 1620680 h 1631123"/>
              <a:gd name="connsiteX2" fmla="*/ 8813267 w 8813267"/>
              <a:gd name="connsiteY2" fmla="*/ 1631123 h 1631123"/>
              <a:gd name="connsiteX3" fmla="*/ 8809042 w 8813267"/>
              <a:gd name="connsiteY3" fmla="*/ 0 h 1631123"/>
              <a:gd name="connsiteX4" fmla="*/ 292988 w 8813267"/>
              <a:gd name="connsiteY4" fmla="*/ 10218 h 1631123"/>
              <a:gd name="connsiteX0" fmla="*/ 292988 w 8813267"/>
              <a:gd name="connsiteY0" fmla="*/ 10218 h 1631123"/>
              <a:gd name="connsiteX1" fmla="*/ 0 w 8813267"/>
              <a:gd name="connsiteY1" fmla="*/ 1620680 h 1631123"/>
              <a:gd name="connsiteX2" fmla="*/ 8813267 w 8813267"/>
              <a:gd name="connsiteY2" fmla="*/ 1631123 h 1631123"/>
              <a:gd name="connsiteX3" fmla="*/ 8795095 w 8813267"/>
              <a:gd name="connsiteY3" fmla="*/ 0 h 1631123"/>
              <a:gd name="connsiteX4" fmla="*/ 292988 w 8813267"/>
              <a:gd name="connsiteY4" fmla="*/ 10218 h 1631123"/>
              <a:gd name="connsiteX0" fmla="*/ 292988 w 8799320"/>
              <a:gd name="connsiteY0" fmla="*/ 10218 h 1624355"/>
              <a:gd name="connsiteX1" fmla="*/ 0 w 8799320"/>
              <a:gd name="connsiteY1" fmla="*/ 1620680 h 1624355"/>
              <a:gd name="connsiteX2" fmla="*/ 8799320 w 8799320"/>
              <a:gd name="connsiteY2" fmla="*/ 1624355 h 1624355"/>
              <a:gd name="connsiteX3" fmla="*/ 8795095 w 8799320"/>
              <a:gd name="connsiteY3" fmla="*/ 0 h 1624355"/>
              <a:gd name="connsiteX4" fmla="*/ 292988 w 8799320"/>
              <a:gd name="connsiteY4" fmla="*/ 10218 h 1624355"/>
              <a:gd name="connsiteX0" fmla="*/ 292988 w 8799320"/>
              <a:gd name="connsiteY0" fmla="*/ 10218 h 1624355"/>
              <a:gd name="connsiteX1" fmla="*/ 0 w 8799320"/>
              <a:gd name="connsiteY1" fmla="*/ 1620680 h 1624355"/>
              <a:gd name="connsiteX2" fmla="*/ 8799320 w 8799320"/>
              <a:gd name="connsiteY2" fmla="*/ 1624355 h 1624355"/>
              <a:gd name="connsiteX3" fmla="*/ 8795095 w 8799320"/>
              <a:gd name="connsiteY3" fmla="*/ 0 h 1624355"/>
              <a:gd name="connsiteX4" fmla="*/ 292988 w 8799320"/>
              <a:gd name="connsiteY4" fmla="*/ 10218 h 1624355"/>
              <a:gd name="connsiteX0" fmla="*/ 292988 w 8795525"/>
              <a:gd name="connsiteY0" fmla="*/ 10218 h 1624355"/>
              <a:gd name="connsiteX1" fmla="*/ 0 w 8795525"/>
              <a:gd name="connsiteY1" fmla="*/ 1620680 h 1624355"/>
              <a:gd name="connsiteX2" fmla="*/ 8794671 w 8795525"/>
              <a:gd name="connsiteY2" fmla="*/ 1624355 h 1624355"/>
              <a:gd name="connsiteX3" fmla="*/ 8795095 w 8795525"/>
              <a:gd name="connsiteY3" fmla="*/ 0 h 1624355"/>
              <a:gd name="connsiteX4" fmla="*/ 292988 w 8795525"/>
              <a:gd name="connsiteY4" fmla="*/ 10218 h 1624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95525" h="1624355">
                <a:moveTo>
                  <a:pt x="292988" y="10218"/>
                </a:moveTo>
                <a:lnTo>
                  <a:pt x="0" y="1620680"/>
                </a:lnTo>
                <a:lnTo>
                  <a:pt x="8794671" y="1624355"/>
                </a:lnTo>
                <a:cubicBezTo>
                  <a:pt x="8790829" y="710916"/>
                  <a:pt x="8797177" y="1216075"/>
                  <a:pt x="8795095" y="0"/>
                </a:cubicBezTo>
                <a:lnTo>
                  <a:pt x="292988" y="1021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0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70" dirty="0"/>
          </a:p>
        </p:txBody>
      </p:sp>
      <p:sp>
        <p:nvSpPr>
          <p:cNvPr id="91" name="Dowolny kształt: kształt 90">
            <a:extLst>
              <a:ext uri="{FF2B5EF4-FFF2-40B4-BE49-F238E27FC236}">
                <a16:creationId xmlns:a16="http://schemas.microsoft.com/office/drawing/2014/main" id="{96C29A36-A449-B791-ED13-1748045C98D4}"/>
              </a:ext>
            </a:extLst>
          </p:cNvPr>
          <p:cNvSpPr>
            <a:spLocks/>
          </p:cNvSpPr>
          <p:nvPr/>
        </p:nvSpPr>
        <p:spPr>
          <a:xfrm>
            <a:off x="6913389" y="1568510"/>
            <a:ext cx="8683466" cy="1133099"/>
          </a:xfrm>
          <a:custGeom>
            <a:avLst/>
            <a:gdLst>
              <a:gd name="connsiteX0" fmla="*/ 1760483 w 5507421"/>
              <a:gd name="connsiteY0" fmla="*/ 0 h 6516414"/>
              <a:gd name="connsiteX1" fmla="*/ 0 w 5507421"/>
              <a:gd name="connsiteY1" fmla="*/ 6516414 h 6516414"/>
              <a:gd name="connsiteX2" fmla="*/ 3783724 w 5507421"/>
              <a:gd name="connsiteY2" fmla="*/ 6516414 h 6516414"/>
              <a:gd name="connsiteX3" fmla="*/ 5507421 w 5507421"/>
              <a:gd name="connsiteY3" fmla="*/ 47297 h 6516414"/>
              <a:gd name="connsiteX4" fmla="*/ 1760483 w 5507421"/>
              <a:gd name="connsiteY4" fmla="*/ 0 h 6516414"/>
              <a:gd name="connsiteX0" fmla="*/ 1735770 w 5507421"/>
              <a:gd name="connsiteY0" fmla="*/ 14487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735770 w 5507421"/>
              <a:gd name="connsiteY4" fmla="*/ 14487 h 6469117"/>
              <a:gd name="connsiteX0" fmla="*/ 1741948 w 5507421"/>
              <a:gd name="connsiteY0" fmla="*/ 8308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741948 w 5507421"/>
              <a:gd name="connsiteY4" fmla="*/ 8308 h 6469117"/>
              <a:gd name="connsiteX0" fmla="*/ 1605546 w 5507421"/>
              <a:gd name="connsiteY0" fmla="*/ 493293 h 6469117"/>
              <a:gd name="connsiteX1" fmla="*/ 0 w 5507421"/>
              <a:gd name="connsiteY1" fmla="*/ 6469117 h 6469117"/>
              <a:gd name="connsiteX2" fmla="*/ 3783724 w 5507421"/>
              <a:gd name="connsiteY2" fmla="*/ 6469117 h 6469117"/>
              <a:gd name="connsiteX3" fmla="*/ 5507421 w 5507421"/>
              <a:gd name="connsiteY3" fmla="*/ 0 h 6469117"/>
              <a:gd name="connsiteX4" fmla="*/ 1605546 w 5507421"/>
              <a:gd name="connsiteY4" fmla="*/ 493293 h 6469117"/>
              <a:gd name="connsiteX0" fmla="*/ 1605546 w 5360915"/>
              <a:gd name="connsiteY0" fmla="*/ 0 h 5975824"/>
              <a:gd name="connsiteX1" fmla="*/ 0 w 5360915"/>
              <a:gd name="connsiteY1" fmla="*/ 5975824 h 5975824"/>
              <a:gd name="connsiteX2" fmla="*/ 3783724 w 5360915"/>
              <a:gd name="connsiteY2" fmla="*/ 5975824 h 5975824"/>
              <a:gd name="connsiteX3" fmla="*/ 5360915 w 5360915"/>
              <a:gd name="connsiteY3" fmla="*/ 11901 h 5975824"/>
              <a:gd name="connsiteX4" fmla="*/ 1605546 w 5360915"/>
              <a:gd name="connsiteY4" fmla="*/ 0 h 5975824"/>
              <a:gd name="connsiteX0" fmla="*/ 857859 w 5360915"/>
              <a:gd name="connsiteY0" fmla="*/ 0 h 5970772"/>
              <a:gd name="connsiteX1" fmla="*/ 0 w 5360915"/>
              <a:gd name="connsiteY1" fmla="*/ 5970772 h 5970772"/>
              <a:gd name="connsiteX2" fmla="*/ 3783724 w 5360915"/>
              <a:gd name="connsiteY2" fmla="*/ 5970772 h 5970772"/>
              <a:gd name="connsiteX3" fmla="*/ 5360915 w 5360915"/>
              <a:gd name="connsiteY3" fmla="*/ 6849 h 5970772"/>
              <a:gd name="connsiteX4" fmla="*/ 857859 w 5360915"/>
              <a:gd name="connsiteY4" fmla="*/ 0 h 5970772"/>
              <a:gd name="connsiteX0" fmla="*/ 1600493 w 6103549"/>
              <a:gd name="connsiteY0" fmla="*/ 0 h 5975824"/>
              <a:gd name="connsiteX1" fmla="*/ 0 w 6103549"/>
              <a:gd name="connsiteY1" fmla="*/ 5975824 h 5975824"/>
              <a:gd name="connsiteX2" fmla="*/ 4526358 w 6103549"/>
              <a:gd name="connsiteY2" fmla="*/ 5970772 h 5975824"/>
              <a:gd name="connsiteX3" fmla="*/ 6103549 w 6103549"/>
              <a:gd name="connsiteY3" fmla="*/ 6849 h 5975824"/>
              <a:gd name="connsiteX4" fmla="*/ 1600493 w 6103549"/>
              <a:gd name="connsiteY4" fmla="*/ 0 h 5975824"/>
              <a:gd name="connsiteX0" fmla="*/ 1600493 w 6103549"/>
              <a:gd name="connsiteY0" fmla="*/ 0 h 5975824"/>
              <a:gd name="connsiteX1" fmla="*/ 0 w 6103549"/>
              <a:gd name="connsiteY1" fmla="*/ 5975824 h 5975824"/>
              <a:gd name="connsiteX2" fmla="*/ 5334667 w 6103549"/>
              <a:gd name="connsiteY2" fmla="*/ 5975824 h 5975824"/>
              <a:gd name="connsiteX3" fmla="*/ 6103549 w 6103549"/>
              <a:gd name="connsiteY3" fmla="*/ 6849 h 5975824"/>
              <a:gd name="connsiteX4" fmla="*/ 1600493 w 6103549"/>
              <a:gd name="connsiteY4" fmla="*/ 0 h 5975824"/>
              <a:gd name="connsiteX0" fmla="*/ 1600493 w 6947222"/>
              <a:gd name="connsiteY0" fmla="*/ 0 h 5975824"/>
              <a:gd name="connsiteX1" fmla="*/ 0 w 6947222"/>
              <a:gd name="connsiteY1" fmla="*/ 5975824 h 5975824"/>
              <a:gd name="connsiteX2" fmla="*/ 5334667 w 6947222"/>
              <a:gd name="connsiteY2" fmla="*/ 5975824 h 5975824"/>
              <a:gd name="connsiteX3" fmla="*/ 6947222 w 6947222"/>
              <a:gd name="connsiteY3" fmla="*/ 1797 h 5975824"/>
              <a:gd name="connsiteX4" fmla="*/ 1600493 w 6947222"/>
              <a:gd name="connsiteY4" fmla="*/ 0 h 5975824"/>
              <a:gd name="connsiteX0" fmla="*/ 1600493 w 7017561"/>
              <a:gd name="connsiteY0" fmla="*/ 0 h 5975824"/>
              <a:gd name="connsiteX1" fmla="*/ 0 w 7017561"/>
              <a:gd name="connsiteY1" fmla="*/ 5975824 h 5975824"/>
              <a:gd name="connsiteX2" fmla="*/ 5334667 w 7017561"/>
              <a:gd name="connsiteY2" fmla="*/ 5975824 h 5975824"/>
              <a:gd name="connsiteX3" fmla="*/ 7017561 w 7017561"/>
              <a:gd name="connsiteY3" fmla="*/ 1797 h 5975824"/>
              <a:gd name="connsiteX4" fmla="*/ 1600493 w 7017561"/>
              <a:gd name="connsiteY4" fmla="*/ 0 h 5975824"/>
              <a:gd name="connsiteX0" fmla="*/ 1600493 w 7017561"/>
              <a:gd name="connsiteY0" fmla="*/ 0 h 5975824"/>
              <a:gd name="connsiteX1" fmla="*/ 0 w 7017561"/>
              <a:gd name="connsiteY1" fmla="*/ 5975824 h 5975824"/>
              <a:gd name="connsiteX2" fmla="*/ 7007718 w 7017561"/>
              <a:gd name="connsiteY2" fmla="*/ 5975824 h 5975824"/>
              <a:gd name="connsiteX3" fmla="*/ 7017561 w 7017561"/>
              <a:gd name="connsiteY3" fmla="*/ 1797 h 5975824"/>
              <a:gd name="connsiteX4" fmla="*/ 1600493 w 7017561"/>
              <a:gd name="connsiteY4" fmla="*/ 0 h 5975824"/>
              <a:gd name="connsiteX0" fmla="*/ 1600493 w 7007718"/>
              <a:gd name="connsiteY0" fmla="*/ 0 h 5975824"/>
              <a:gd name="connsiteX1" fmla="*/ 0 w 7007718"/>
              <a:gd name="connsiteY1" fmla="*/ 5975824 h 5975824"/>
              <a:gd name="connsiteX2" fmla="*/ 7007718 w 7007718"/>
              <a:gd name="connsiteY2" fmla="*/ 5975824 h 5975824"/>
              <a:gd name="connsiteX3" fmla="*/ 6309152 w 7007718"/>
              <a:gd name="connsiteY3" fmla="*/ 21894 h 5975824"/>
              <a:gd name="connsiteX4" fmla="*/ 1600493 w 7007718"/>
              <a:gd name="connsiteY4" fmla="*/ 0 h 5975824"/>
              <a:gd name="connsiteX0" fmla="*/ 1600493 w 6309152"/>
              <a:gd name="connsiteY0" fmla="*/ 0 h 5975824"/>
              <a:gd name="connsiteX1" fmla="*/ 0 w 6309152"/>
              <a:gd name="connsiteY1" fmla="*/ 5975824 h 5975824"/>
              <a:gd name="connsiteX2" fmla="*/ 6294285 w 6309152"/>
              <a:gd name="connsiteY2" fmla="*/ 5955727 h 5975824"/>
              <a:gd name="connsiteX3" fmla="*/ 6309152 w 6309152"/>
              <a:gd name="connsiteY3" fmla="*/ 21894 h 5975824"/>
              <a:gd name="connsiteX4" fmla="*/ 1600493 w 6309152"/>
              <a:gd name="connsiteY4" fmla="*/ 0 h 5975824"/>
              <a:gd name="connsiteX0" fmla="*/ 1600493 w 6309152"/>
              <a:gd name="connsiteY0" fmla="*/ 0 h 5985872"/>
              <a:gd name="connsiteX1" fmla="*/ 0 w 6309152"/>
              <a:gd name="connsiteY1" fmla="*/ 5975824 h 5985872"/>
              <a:gd name="connsiteX2" fmla="*/ 6289261 w 6309152"/>
              <a:gd name="connsiteY2" fmla="*/ 5985872 h 5985872"/>
              <a:gd name="connsiteX3" fmla="*/ 6309152 w 6309152"/>
              <a:gd name="connsiteY3" fmla="*/ 21894 h 5985872"/>
              <a:gd name="connsiteX4" fmla="*/ 1600493 w 6309152"/>
              <a:gd name="connsiteY4" fmla="*/ 0 h 5985872"/>
              <a:gd name="connsiteX0" fmla="*/ 1600493 w 6309152"/>
              <a:gd name="connsiteY0" fmla="*/ 0 h 5975824"/>
              <a:gd name="connsiteX1" fmla="*/ 0 w 6309152"/>
              <a:gd name="connsiteY1" fmla="*/ 5975824 h 5975824"/>
              <a:gd name="connsiteX2" fmla="*/ 6289261 w 6309152"/>
              <a:gd name="connsiteY2" fmla="*/ 5975824 h 5975824"/>
              <a:gd name="connsiteX3" fmla="*/ 6309152 w 6309152"/>
              <a:gd name="connsiteY3" fmla="*/ 21894 h 5975824"/>
              <a:gd name="connsiteX4" fmla="*/ 1600493 w 6309152"/>
              <a:gd name="connsiteY4" fmla="*/ 0 h 5975824"/>
              <a:gd name="connsiteX0" fmla="*/ 1600493 w 6304127"/>
              <a:gd name="connsiteY0" fmla="*/ 8251 h 5984075"/>
              <a:gd name="connsiteX1" fmla="*/ 0 w 6304127"/>
              <a:gd name="connsiteY1" fmla="*/ 5984075 h 5984075"/>
              <a:gd name="connsiteX2" fmla="*/ 6289261 w 6304127"/>
              <a:gd name="connsiteY2" fmla="*/ 5984075 h 5984075"/>
              <a:gd name="connsiteX3" fmla="*/ 6304127 w 6304127"/>
              <a:gd name="connsiteY3" fmla="*/ 0 h 5984075"/>
              <a:gd name="connsiteX4" fmla="*/ 1600493 w 6304127"/>
              <a:gd name="connsiteY4" fmla="*/ 8251 h 5984075"/>
              <a:gd name="connsiteX0" fmla="*/ 762784 w 5466418"/>
              <a:gd name="connsiteY0" fmla="*/ 8251 h 5984075"/>
              <a:gd name="connsiteX1" fmla="*/ 0 w 5466418"/>
              <a:gd name="connsiteY1" fmla="*/ 2857417 h 5984075"/>
              <a:gd name="connsiteX2" fmla="*/ 5451552 w 5466418"/>
              <a:gd name="connsiteY2" fmla="*/ 5984075 h 5984075"/>
              <a:gd name="connsiteX3" fmla="*/ 5466418 w 5466418"/>
              <a:gd name="connsiteY3" fmla="*/ 0 h 5984075"/>
              <a:gd name="connsiteX4" fmla="*/ 762784 w 5466418"/>
              <a:gd name="connsiteY4" fmla="*/ 8251 h 5984075"/>
              <a:gd name="connsiteX0" fmla="*/ 762784 w 5466418"/>
              <a:gd name="connsiteY0" fmla="*/ 8251 h 2857417"/>
              <a:gd name="connsiteX1" fmla="*/ 0 w 5466418"/>
              <a:gd name="connsiteY1" fmla="*/ 2857417 h 2857417"/>
              <a:gd name="connsiteX2" fmla="*/ 5457451 w 5466418"/>
              <a:gd name="connsiteY2" fmla="*/ 2845619 h 2857417"/>
              <a:gd name="connsiteX3" fmla="*/ 5466418 w 5466418"/>
              <a:gd name="connsiteY3" fmla="*/ 0 h 2857417"/>
              <a:gd name="connsiteX4" fmla="*/ 762784 w 5466418"/>
              <a:gd name="connsiteY4" fmla="*/ 8251 h 2857417"/>
              <a:gd name="connsiteX0" fmla="*/ 509112 w 5212746"/>
              <a:gd name="connsiteY0" fmla="*/ 8251 h 2845619"/>
              <a:gd name="connsiteX1" fmla="*/ 0 w 5212746"/>
              <a:gd name="connsiteY1" fmla="*/ 1919419 h 2845619"/>
              <a:gd name="connsiteX2" fmla="*/ 5203779 w 5212746"/>
              <a:gd name="connsiteY2" fmla="*/ 2845619 h 2845619"/>
              <a:gd name="connsiteX3" fmla="*/ 5212746 w 5212746"/>
              <a:gd name="connsiteY3" fmla="*/ 0 h 2845619"/>
              <a:gd name="connsiteX4" fmla="*/ 509112 w 5212746"/>
              <a:gd name="connsiteY4" fmla="*/ 8251 h 2845619"/>
              <a:gd name="connsiteX0" fmla="*/ 509112 w 5212746"/>
              <a:gd name="connsiteY0" fmla="*/ 8251 h 1919419"/>
              <a:gd name="connsiteX1" fmla="*/ 0 w 5212746"/>
              <a:gd name="connsiteY1" fmla="*/ 1919419 h 1919419"/>
              <a:gd name="connsiteX2" fmla="*/ 5197880 w 5212746"/>
              <a:gd name="connsiteY2" fmla="*/ 1901722 h 1919419"/>
              <a:gd name="connsiteX3" fmla="*/ 5212746 w 5212746"/>
              <a:gd name="connsiteY3" fmla="*/ 0 h 1919419"/>
              <a:gd name="connsiteX4" fmla="*/ 509112 w 5212746"/>
              <a:gd name="connsiteY4" fmla="*/ 8251 h 1919419"/>
              <a:gd name="connsiteX0" fmla="*/ 509112 w 5212746"/>
              <a:gd name="connsiteY0" fmla="*/ 8251 h 1919419"/>
              <a:gd name="connsiteX1" fmla="*/ 0 w 5212746"/>
              <a:gd name="connsiteY1" fmla="*/ 1919419 h 1919419"/>
              <a:gd name="connsiteX2" fmla="*/ 5197880 w 5212746"/>
              <a:gd name="connsiteY2" fmla="*/ 1913521 h 1919419"/>
              <a:gd name="connsiteX3" fmla="*/ 5212746 w 5212746"/>
              <a:gd name="connsiteY3" fmla="*/ 0 h 1919419"/>
              <a:gd name="connsiteX4" fmla="*/ 509112 w 5212746"/>
              <a:gd name="connsiteY4" fmla="*/ 8251 h 1919419"/>
              <a:gd name="connsiteX0" fmla="*/ 302635 w 5006269"/>
              <a:gd name="connsiteY0" fmla="*/ 8251 h 1913521"/>
              <a:gd name="connsiteX1" fmla="*/ 0 w 5006269"/>
              <a:gd name="connsiteY1" fmla="*/ 1128906 h 1913521"/>
              <a:gd name="connsiteX2" fmla="*/ 4991403 w 5006269"/>
              <a:gd name="connsiteY2" fmla="*/ 1913521 h 1913521"/>
              <a:gd name="connsiteX3" fmla="*/ 5006269 w 5006269"/>
              <a:gd name="connsiteY3" fmla="*/ 0 h 1913521"/>
              <a:gd name="connsiteX4" fmla="*/ 302635 w 5006269"/>
              <a:gd name="connsiteY4" fmla="*/ 8251 h 1913521"/>
              <a:gd name="connsiteX0" fmla="*/ 302635 w 5006269"/>
              <a:gd name="connsiteY0" fmla="*/ 8251 h 1128906"/>
              <a:gd name="connsiteX1" fmla="*/ 0 w 5006269"/>
              <a:gd name="connsiteY1" fmla="*/ 1128906 h 1128906"/>
              <a:gd name="connsiteX2" fmla="*/ 5003202 w 5006269"/>
              <a:gd name="connsiteY2" fmla="*/ 1117108 h 1128906"/>
              <a:gd name="connsiteX3" fmla="*/ 5006269 w 5006269"/>
              <a:gd name="connsiteY3" fmla="*/ 0 h 1128906"/>
              <a:gd name="connsiteX4" fmla="*/ 302635 w 5006269"/>
              <a:gd name="connsiteY4" fmla="*/ 8251 h 1128906"/>
              <a:gd name="connsiteX0" fmla="*/ 302635 w 5003220"/>
              <a:gd name="connsiteY0" fmla="*/ 8251 h 1128906"/>
              <a:gd name="connsiteX1" fmla="*/ 0 w 5003220"/>
              <a:gd name="connsiteY1" fmla="*/ 1128906 h 1128906"/>
              <a:gd name="connsiteX2" fmla="*/ 5003202 w 5003220"/>
              <a:gd name="connsiteY2" fmla="*/ 1117108 h 1128906"/>
              <a:gd name="connsiteX3" fmla="*/ 4025481 w 5003220"/>
              <a:gd name="connsiteY3" fmla="*/ 0 h 1128906"/>
              <a:gd name="connsiteX4" fmla="*/ 302635 w 5003220"/>
              <a:gd name="connsiteY4" fmla="*/ 8251 h 1128906"/>
              <a:gd name="connsiteX0" fmla="*/ 302635 w 4025482"/>
              <a:gd name="connsiteY0" fmla="*/ 8251 h 1128906"/>
              <a:gd name="connsiteX1" fmla="*/ 0 w 4025482"/>
              <a:gd name="connsiteY1" fmla="*/ 1128906 h 1128906"/>
              <a:gd name="connsiteX2" fmla="*/ 4022414 w 4025482"/>
              <a:gd name="connsiteY2" fmla="*/ 1123646 h 1128906"/>
              <a:gd name="connsiteX3" fmla="*/ 4025481 w 4025482"/>
              <a:gd name="connsiteY3" fmla="*/ 0 h 1128906"/>
              <a:gd name="connsiteX4" fmla="*/ 302635 w 4025482"/>
              <a:gd name="connsiteY4" fmla="*/ 8251 h 1128906"/>
              <a:gd name="connsiteX0" fmla="*/ 446485 w 4025481"/>
              <a:gd name="connsiteY0" fmla="*/ 0 h 1689512"/>
              <a:gd name="connsiteX1" fmla="*/ 0 w 4025481"/>
              <a:gd name="connsiteY1" fmla="*/ 1689512 h 1689512"/>
              <a:gd name="connsiteX2" fmla="*/ 4022414 w 4025481"/>
              <a:gd name="connsiteY2" fmla="*/ 1684252 h 1689512"/>
              <a:gd name="connsiteX3" fmla="*/ 4025481 w 4025481"/>
              <a:gd name="connsiteY3" fmla="*/ 560606 h 1689512"/>
              <a:gd name="connsiteX4" fmla="*/ 446485 w 4025481"/>
              <a:gd name="connsiteY4" fmla="*/ 0 h 1689512"/>
              <a:gd name="connsiteX0" fmla="*/ 446485 w 4023534"/>
              <a:gd name="connsiteY0" fmla="*/ 27866 h 1717378"/>
              <a:gd name="connsiteX1" fmla="*/ 0 w 4023534"/>
              <a:gd name="connsiteY1" fmla="*/ 1717378 h 1717378"/>
              <a:gd name="connsiteX2" fmla="*/ 4022414 w 4023534"/>
              <a:gd name="connsiteY2" fmla="*/ 1712118 h 1717378"/>
              <a:gd name="connsiteX3" fmla="*/ 4018943 w 4023534"/>
              <a:gd name="connsiteY3" fmla="*/ 0 h 1717378"/>
              <a:gd name="connsiteX4" fmla="*/ 446485 w 4023534"/>
              <a:gd name="connsiteY4" fmla="*/ 27866 h 1717378"/>
              <a:gd name="connsiteX0" fmla="*/ 446485 w 4023534"/>
              <a:gd name="connsiteY0" fmla="*/ 1712 h 1717378"/>
              <a:gd name="connsiteX1" fmla="*/ 0 w 4023534"/>
              <a:gd name="connsiteY1" fmla="*/ 1717378 h 1717378"/>
              <a:gd name="connsiteX2" fmla="*/ 4022414 w 4023534"/>
              <a:gd name="connsiteY2" fmla="*/ 1712118 h 1717378"/>
              <a:gd name="connsiteX3" fmla="*/ 4018943 w 4023534"/>
              <a:gd name="connsiteY3" fmla="*/ 0 h 1717378"/>
              <a:gd name="connsiteX4" fmla="*/ 446485 w 4023534"/>
              <a:gd name="connsiteY4" fmla="*/ 1712 h 1717378"/>
              <a:gd name="connsiteX0" fmla="*/ 0 w 4047827"/>
              <a:gd name="connsiteY0" fmla="*/ 1712 h 1717378"/>
              <a:gd name="connsiteX1" fmla="*/ 24293 w 4047827"/>
              <a:gd name="connsiteY1" fmla="*/ 1717378 h 1717378"/>
              <a:gd name="connsiteX2" fmla="*/ 4046707 w 4047827"/>
              <a:gd name="connsiteY2" fmla="*/ 1712118 h 1717378"/>
              <a:gd name="connsiteX3" fmla="*/ 4043236 w 4047827"/>
              <a:gd name="connsiteY3" fmla="*/ 0 h 1717378"/>
              <a:gd name="connsiteX4" fmla="*/ 0 w 4047827"/>
              <a:gd name="connsiteY4" fmla="*/ 1712 h 1717378"/>
              <a:gd name="connsiteX0" fmla="*/ 439947 w 4487774"/>
              <a:gd name="connsiteY0" fmla="*/ 1712 h 1717378"/>
              <a:gd name="connsiteX1" fmla="*/ 0 w 4487774"/>
              <a:gd name="connsiteY1" fmla="*/ 1717378 h 1717378"/>
              <a:gd name="connsiteX2" fmla="*/ 4486654 w 4487774"/>
              <a:gd name="connsiteY2" fmla="*/ 1712118 h 1717378"/>
              <a:gd name="connsiteX3" fmla="*/ 4483183 w 4487774"/>
              <a:gd name="connsiteY3" fmla="*/ 0 h 1717378"/>
              <a:gd name="connsiteX4" fmla="*/ 439947 w 4487774"/>
              <a:gd name="connsiteY4" fmla="*/ 1712 h 1717378"/>
              <a:gd name="connsiteX0" fmla="*/ 439947 w 4493992"/>
              <a:gd name="connsiteY0" fmla="*/ 1712 h 1717378"/>
              <a:gd name="connsiteX1" fmla="*/ 0 w 4493992"/>
              <a:gd name="connsiteY1" fmla="*/ 1717378 h 1717378"/>
              <a:gd name="connsiteX2" fmla="*/ 4493194 w 4493992"/>
              <a:gd name="connsiteY2" fmla="*/ 1267493 h 1717378"/>
              <a:gd name="connsiteX3" fmla="*/ 4483183 w 4493992"/>
              <a:gd name="connsiteY3" fmla="*/ 0 h 1717378"/>
              <a:gd name="connsiteX4" fmla="*/ 439947 w 4493992"/>
              <a:gd name="connsiteY4" fmla="*/ 1712 h 1717378"/>
              <a:gd name="connsiteX0" fmla="*/ 322253 w 4376298"/>
              <a:gd name="connsiteY0" fmla="*/ 1712 h 1267493"/>
              <a:gd name="connsiteX1" fmla="*/ 0 w 4376298"/>
              <a:gd name="connsiteY1" fmla="*/ 1253139 h 1267493"/>
              <a:gd name="connsiteX2" fmla="*/ 4375500 w 4376298"/>
              <a:gd name="connsiteY2" fmla="*/ 1267493 h 1267493"/>
              <a:gd name="connsiteX3" fmla="*/ 4365489 w 4376298"/>
              <a:gd name="connsiteY3" fmla="*/ 0 h 1267493"/>
              <a:gd name="connsiteX4" fmla="*/ 322253 w 4376298"/>
              <a:gd name="connsiteY4" fmla="*/ 1712 h 1267493"/>
              <a:gd name="connsiteX0" fmla="*/ 322253 w 4376298"/>
              <a:gd name="connsiteY0" fmla="*/ 1712 h 1267493"/>
              <a:gd name="connsiteX1" fmla="*/ 0 w 4376298"/>
              <a:gd name="connsiteY1" fmla="*/ 1259678 h 1267493"/>
              <a:gd name="connsiteX2" fmla="*/ 4375500 w 4376298"/>
              <a:gd name="connsiteY2" fmla="*/ 1267493 h 1267493"/>
              <a:gd name="connsiteX3" fmla="*/ 4365489 w 4376298"/>
              <a:gd name="connsiteY3" fmla="*/ 0 h 1267493"/>
              <a:gd name="connsiteX4" fmla="*/ 322253 w 4376298"/>
              <a:gd name="connsiteY4" fmla="*/ 1712 h 1267493"/>
              <a:gd name="connsiteX0" fmla="*/ 322253 w 4376298"/>
              <a:gd name="connsiteY0" fmla="*/ 1712 h 1272754"/>
              <a:gd name="connsiteX1" fmla="*/ 0 w 4376298"/>
              <a:gd name="connsiteY1" fmla="*/ 1272754 h 1272754"/>
              <a:gd name="connsiteX2" fmla="*/ 4375500 w 4376298"/>
              <a:gd name="connsiteY2" fmla="*/ 1267493 h 1272754"/>
              <a:gd name="connsiteX3" fmla="*/ 4365489 w 4376298"/>
              <a:gd name="connsiteY3" fmla="*/ 0 h 1272754"/>
              <a:gd name="connsiteX4" fmla="*/ 322253 w 4376298"/>
              <a:gd name="connsiteY4" fmla="*/ 1712 h 1272754"/>
              <a:gd name="connsiteX0" fmla="*/ 322253 w 4371261"/>
              <a:gd name="connsiteY0" fmla="*/ 1712 h 1272754"/>
              <a:gd name="connsiteX1" fmla="*/ 0 w 4371261"/>
              <a:gd name="connsiteY1" fmla="*/ 1272754 h 1272754"/>
              <a:gd name="connsiteX2" fmla="*/ 4370221 w 4371261"/>
              <a:gd name="connsiteY2" fmla="*/ 1269253 h 1272754"/>
              <a:gd name="connsiteX3" fmla="*/ 4365489 w 4371261"/>
              <a:gd name="connsiteY3" fmla="*/ 0 h 1272754"/>
              <a:gd name="connsiteX4" fmla="*/ 322253 w 437126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22253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22253 w 4370221"/>
              <a:gd name="connsiteY4" fmla="*/ 1712 h 1272754"/>
              <a:gd name="connsiteX0" fmla="*/ 332811 w 4370221"/>
              <a:gd name="connsiteY0" fmla="*/ 1712 h 1272754"/>
              <a:gd name="connsiteX1" fmla="*/ 0 w 4370221"/>
              <a:gd name="connsiteY1" fmla="*/ 1272754 h 1272754"/>
              <a:gd name="connsiteX2" fmla="*/ 4370221 w 4370221"/>
              <a:gd name="connsiteY2" fmla="*/ 1269253 h 1272754"/>
              <a:gd name="connsiteX3" fmla="*/ 4365489 w 4370221"/>
              <a:gd name="connsiteY3" fmla="*/ 0 h 1272754"/>
              <a:gd name="connsiteX4" fmla="*/ 332811 w 4370221"/>
              <a:gd name="connsiteY4" fmla="*/ 1712 h 1272754"/>
              <a:gd name="connsiteX0" fmla="*/ 0 w 4384034"/>
              <a:gd name="connsiteY0" fmla="*/ 1712 h 1272754"/>
              <a:gd name="connsiteX1" fmla="*/ 13813 w 4384034"/>
              <a:gd name="connsiteY1" fmla="*/ 1272754 h 1272754"/>
              <a:gd name="connsiteX2" fmla="*/ 4384034 w 4384034"/>
              <a:gd name="connsiteY2" fmla="*/ 1269253 h 1272754"/>
              <a:gd name="connsiteX3" fmla="*/ 4379302 w 4384034"/>
              <a:gd name="connsiteY3" fmla="*/ 0 h 1272754"/>
              <a:gd name="connsiteX4" fmla="*/ 0 w 4384034"/>
              <a:gd name="connsiteY4" fmla="*/ 1712 h 1272754"/>
              <a:gd name="connsiteX0" fmla="*/ 316976 w 4701010"/>
              <a:gd name="connsiteY0" fmla="*/ 1712 h 1272754"/>
              <a:gd name="connsiteX1" fmla="*/ 0 w 4701010"/>
              <a:gd name="connsiteY1" fmla="*/ 1272754 h 1272754"/>
              <a:gd name="connsiteX2" fmla="*/ 4701010 w 4701010"/>
              <a:gd name="connsiteY2" fmla="*/ 1269253 h 1272754"/>
              <a:gd name="connsiteX3" fmla="*/ 4696278 w 4701010"/>
              <a:gd name="connsiteY3" fmla="*/ 0 h 1272754"/>
              <a:gd name="connsiteX4" fmla="*/ 316976 w 4701010"/>
              <a:gd name="connsiteY4" fmla="*/ 1712 h 1272754"/>
              <a:gd name="connsiteX0" fmla="*/ 343369 w 4727403"/>
              <a:gd name="connsiteY0" fmla="*/ 1712 h 1274514"/>
              <a:gd name="connsiteX1" fmla="*/ 0 w 4727403"/>
              <a:gd name="connsiteY1" fmla="*/ 1274514 h 1274514"/>
              <a:gd name="connsiteX2" fmla="*/ 4727403 w 4727403"/>
              <a:gd name="connsiteY2" fmla="*/ 1269253 h 1274514"/>
              <a:gd name="connsiteX3" fmla="*/ 4722671 w 4727403"/>
              <a:gd name="connsiteY3" fmla="*/ 0 h 1274514"/>
              <a:gd name="connsiteX4" fmla="*/ 343369 w 4727403"/>
              <a:gd name="connsiteY4" fmla="*/ 1712 h 1274514"/>
              <a:gd name="connsiteX0" fmla="*/ 343369 w 4730922"/>
              <a:gd name="connsiteY0" fmla="*/ 1712 h 2022324"/>
              <a:gd name="connsiteX1" fmla="*/ 0 w 4730922"/>
              <a:gd name="connsiteY1" fmla="*/ 1274514 h 2022324"/>
              <a:gd name="connsiteX2" fmla="*/ 4730922 w 4730922"/>
              <a:gd name="connsiteY2" fmla="*/ 2022324 h 2022324"/>
              <a:gd name="connsiteX3" fmla="*/ 4722671 w 4730922"/>
              <a:gd name="connsiteY3" fmla="*/ 0 h 2022324"/>
              <a:gd name="connsiteX4" fmla="*/ 343369 w 4730922"/>
              <a:gd name="connsiteY4" fmla="*/ 1712 h 2022324"/>
              <a:gd name="connsiteX0" fmla="*/ 550992 w 4938545"/>
              <a:gd name="connsiteY0" fmla="*/ 1712 h 2038142"/>
              <a:gd name="connsiteX1" fmla="*/ 0 w 4938545"/>
              <a:gd name="connsiteY1" fmla="*/ 2038142 h 2038142"/>
              <a:gd name="connsiteX2" fmla="*/ 4938545 w 4938545"/>
              <a:gd name="connsiteY2" fmla="*/ 2022324 h 2038142"/>
              <a:gd name="connsiteX3" fmla="*/ 4930294 w 4938545"/>
              <a:gd name="connsiteY3" fmla="*/ 0 h 2038142"/>
              <a:gd name="connsiteX4" fmla="*/ 550992 w 4938545"/>
              <a:gd name="connsiteY4" fmla="*/ 1712 h 2038142"/>
              <a:gd name="connsiteX0" fmla="*/ 470050 w 4938545"/>
              <a:gd name="connsiteY0" fmla="*/ 1712 h 2038142"/>
              <a:gd name="connsiteX1" fmla="*/ 0 w 4938545"/>
              <a:gd name="connsiteY1" fmla="*/ 2038142 h 2038142"/>
              <a:gd name="connsiteX2" fmla="*/ 4938545 w 4938545"/>
              <a:gd name="connsiteY2" fmla="*/ 2022324 h 2038142"/>
              <a:gd name="connsiteX3" fmla="*/ 4930294 w 4938545"/>
              <a:gd name="connsiteY3" fmla="*/ 0 h 2038142"/>
              <a:gd name="connsiteX4" fmla="*/ 470050 w 4938545"/>
              <a:gd name="connsiteY4" fmla="*/ 1712 h 2038142"/>
              <a:gd name="connsiteX0" fmla="*/ 470050 w 5097979"/>
              <a:gd name="connsiteY0" fmla="*/ 8566 h 2044996"/>
              <a:gd name="connsiteX1" fmla="*/ 0 w 5097979"/>
              <a:gd name="connsiteY1" fmla="*/ 2044996 h 2044996"/>
              <a:gd name="connsiteX2" fmla="*/ 4938545 w 5097979"/>
              <a:gd name="connsiteY2" fmla="*/ 2029178 h 2044996"/>
              <a:gd name="connsiteX3" fmla="*/ 5097960 w 5097979"/>
              <a:gd name="connsiteY3" fmla="*/ 0 h 2044996"/>
              <a:gd name="connsiteX4" fmla="*/ 470050 w 5097979"/>
              <a:gd name="connsiteY4" fmla="*/ 8566 h 2044996"/>
              <a:gd name="connsiteX0" fmla="*/ 470050 w 5100430"/>
              <a:gd name="connsiteY0" fmla="*/ 8566 h 2044996"/>
              <a:gd name="connsiteX1" fmla="*/ 0 w 5100430"/>
              <a:gd name="connsiteY1" fmla="*/ 2044996 h 2044996"/>
              <a:gd name="connsiteX2" fmla="*/ 5100430 w 5100430"/>
              <a:gd name="connsiteY2" fmla="*/ 2029178 h 2044996"/>
              <a:gd name="connsiteX3" fmla="*/ 5097960 w 5100430"/>
              <a:gd name="connsiteY3" fmla="*/ 0 h 2044996"/>
              <a:gd name="connsiteX4" fmla="*/ 470050 w 5100430"/>
              <a:gd name="connsiteY4" fmla="*/ 8566 h 2044996"/>
              <a:gd name="connsiteX0" fmla="*/ 348636 w 4979016"/>
              <a:gd name="connsiteY0" fmla="*/ 8566 h 2029178"/>
              <a:gd name="connsiteX1" fmla="*/ 0 w 4979016"/>
              <a:gd name="connsiteY1" fmla="*/ 1613242 h 2029178"/>
              <a:gd name="connsiteX2" fmla="*/ 4979016 w 4979016"/>
              <a:gd name="connsiteY2" fmla="*/ 2029178 h 2029178"/>
              <a:gd name="connsiteX3" fmla="*/ 4976546 w 4979016"/>
              <a:gd name="connsiteY3" fmla="*/ 0 h 2029178"/>
              <a:gd name="connsiteX4" fmla="*/ 348636 w 4979016"/>
              <a:gd name="connsiteY4" fmla="*/ 8566 h 2029178"/>
              <a:gd name="connsiteX0" fmla="*/ 348636 w 4976855"/>
              <a:gd name="connsiteY0" fmla="*/ 8566 h 1613242"/>
              <a:gd name="connsiteX1" fmla="*/ 0 w 4976855"/>
              <a:gd name="connsiteY1" fmla="*/ 1613242 h 1613242"/>
              <a:gd name="connsiteX2" fmla="*/ 4973235 w 4976855"/>
              <a:gd name="connsiteY2" fmla="*/ 1611131 h 1613242"/>
              <a:gd name="connsiteX3" fmla="*/ 4976546 w 4976855"/>
              <a:gd name="connsiteY3" fmla="*/ 0 h 1613242"/>
              <a:gd name="connsiteX4" fmla="*/ 348636 w 4976855"/>
              <a:gd name="connsiteY4" fmla="*/ 8566 h 1613242"/>
              <a:gd name="connsiteX0" fmla="*/ 6798 w 4976855"/>
              <a:gd name="connsiteY0" fmla="*/ 0 h 1616249"/>
              <a:gd name="connsiteX1" fmla="*/ 0 w 4976855"/>
              <a:gd name="connsiteY1" fmla="*/ 1616249 h 1616249"/>
              <a:gd name="connsiteX2" fmla="*/ 4973235 w 4976855"/>
              <a:gd name="connsiteY2" fmla="*/ 1614138 h 1616249"/>
              <a:gd name="connsiteX3" fmla="*/ 4976546 w 4976855"/>
              <a:gd name="connsiteY3" fmla="*/ 3007 h 1616249"/>
              <a:gd name="connsiteX4" fmla="*/ 6798 w 4976855"/>
              <a:gd name="connsiteY4" fmla="*/ 0 h 1616249"/>
              <a:gd name="connsiteX0" fmla="*/ 265164 w 5235221"/>
              <a:gd name="connsiteY0" fmla="*/ 0 h 1614138"/>
              <a:gd name="connsiteX1" fmla="*/ 0 w 5235221"/>
              <a:gd name="connsiteY1" fmla="*/ 1610462 h 1614138"/>
              <a:gd name="connsiteX2" fmla="*/ 5231601 w 5235221"/>
              <a:gd name="connsiteY2" fmla="*/ 1614138 h 1614138"/>
              <a:gd name="connsiteX3" fmla="*/ 5234912 w 5235221"/>
              <a:gd name="connsiteY3" fmla="*/ 3007 h 1614138"/>
              <a:gd name="connsiteX4" fmla="*/ 265164 w 5235221"/>
              <a:gd name="connsiteY4" fmla="*/ 0 h 1614138"/>
              <a:gd name="connsiteX0" fmla="*/ 285038 w 5255095"/>
              <a:gd name="connsiteY0" fmla="*/ 0 h 1614138"/>
              <a:gd name="connsiteX1" fmla="*/ 0 w 5255095"/>
              <a:gd name="connsiteY1" fmla="*/ 1598888 h 1614138"/>
              <a:gd name="connsiteX2" fmla="*/ 5251475 w 5255095"/>
              <a:gd name="connsiteY2" fmla="*/ 1614138 h 1614138"/>
              <a:gd name="connsiteX3" fmla="*/ 5254786 w 5255095"/>
              <a:gd name="connsiteY3" fmla="*/ 3007 h 1614138"/>
              <a:gd name="connsiteX4" fmla="*/ 285038 w 5255095"/>
              <a:gd name="connsiteY4" fmla="*/ 0 h 1614138"/>
              <a:gd name="connsiteX0" fmla="*/ 265164 w 5235221"/>
              <a:gd name="connsiteY0" fmla="*/ 0 h 1614138"/>
              <a:gd name="connsiteX1" fmla="*/ 0 w 5235221"/>
              <a:gd name="connsiteY1" fmla="*/ 1604675 h 1614138"/>
              <a:gd name="connsiteX2" fmla="*/ 5231601 w 5235221"/>
              <a:gd name="connsiteY2" fmla="*/ 1614138 h 1614138"/>
              <a:gd name="connsiteX3" fmla="*/ 5234912 w 5235221"/>
              <a:gd name="connsiteY3" fmla="*/ 3007 h 1614138"/>
              <a:gd name="connsiteX4" fmla="*/ 265164 w 5235221"/>
              <a:gd name="connsiteY4" fmla="*/ 0 h 1614138"/>
              <a:gd name="connsiteX0" fmla="*/ 292988 w 5263045"/>
              <a:gd name="connsiteY0" fmla="*/ 0 h 1614138"/>
              <a:gd name="connsiteX1" fmla="*/ 0 w 5263045"/>
              <a:gd name="connsiteY1" fmla="*/ 1610462 h 1614138"/>
              <a:gd name="connsiteX2" fmla="*/ 5259425 w 5263045"/>
              <a:gd name="connsiteY2" fmla="*/ 1614138 h 1614138"/>
              <a:gd name="connsiteX3" fmla="*/ 5262736 w 5263045"/>
              <a:gd name="connsiteY3" fmla="*/ 3007 h 1614138"/>
              <a:gd name="connsiteX4" fmla="*/ 292988 w 5263045"/>
              <a:gd name="connsiteY4" fmla="*/ 0 h 1614138"/>
              <a:gd name="connsiteX0" fmla="*/ 292988 w 8096190"/>
              <a:gd name="connsiteY0" fmla="*/ 0 h 1614138"/>
              <a:gd name="connsiteX1" fmla="*/ 0 w 8096190"/>
              <a:gd name="connsiteY1" fmla="*/ 1610462 h 1614138"/>
              <a:gd name="connsiteX2" fmla="*/ 8096190 w 8096190"/>
              <a:gd name="connsiteY2" fmla="*/ 1614138 h 1614138"/>
              <a:gd name="connsiteX3" fmla="*/ 5262736 w 8096190"/>
              <a:gd name="connsiteY3" fmla="*/ 3007 h 1614138"/>
              <a:gd name="connsiteX4" fmla="*/ 292988 w 8096190"/>
              <a:gd name="connsiteY4" fmla="*/ 0 h 1614138"/>
              <a:gd name="connsiteX0" fmla="*/ 292988 w 8096190"/>
              <a:gd name="connsiteY0" fmla="*/ 9248 h 1623386"/>
              <a:gd name="connsiteX1" fmla="*/ 0 w 8096190"/>
              <a:gd name="connsiteY1" fmla="*/ 1619710 h 1623386"/>
              <a:gd name="connsiteX2" fmla="*/ 8096190 w 8096190"/>
              <a:gd name="connsiteY2" fmla="*/ 1623386 h 1623386"/>
              <a:gd name="connsiteX3" fmla="*/ 8091085 w 8096190"/>
              <a:gd name="connsiteY3" fmla="*/ 0 h 1623386"/>
              <a:gd name="connsiteX4" fmla="*/ 292988 w 8096190"/>
              <a:gd name="connsiteY4" fmla="*/ 9248 h 1623386"/>
              <a:gd name="connsiteX0" fmla="*/ 292988 w 8096190"/>
              <a:gd name="connsiteY0" fmla="*/ 0 h 1614138"/>
              <a:gd name="connsiteX1" fmla="*/ 0 w 8096190"/>
              <a:gd name="connsiteY1" fmla="*/ 1610462 h 1614138"/>
              <a:gd name="connsiteX2" fmla="*/ 8096190 w 8096190"/>
              <a:gd name="connsiteY2" fmla="*/ 1614138 h 1614138"/>
              <a:gd name="connsiteX3" fmla="*/ 8082667 w 8096190"/>
              <a:gd name="connsiteY3" fmla="*/ 15264 h 1614138"/>
              <a:gd name="connsiteX4" fmla="*/ 292988 w 8096190"/>
              <a:gd name="connsiteY4" fmla="*/ 0 h 1614138"/>
              <a:gd name="connsiteX0" fmla="*/ 292988 w 8476493"/>
              <a:gd name="connsiteY0" fmla="*/ 0 h 1614138"/>
              <a:gd name="connsiteX1" fmla="*/ 0 w 8476493"/>
              <a:gd name="connsiteY1" fmla="*/ 1610462 h 1614138"/>
              <a:gd name="connsiteX2" fmla="*/ 8096190 w 8476493"/>
              <a:gd name="connsiteY2" fmla="*/ 1614138 h 1614138"/>
              <a:gd name="connsiteX3" fmla="*/ 8476485 w 8476493"/>
              <a:gd name="connsiteY3" fmla="*/ 15265 h 1614138"/>
              <a:gd name="connsiteX4" fmla="*/ 292988 w 8476493"/>
              <a:gd name="connsiteY4" fmla="*/ 0 h 1614138"/>
              <a:gd name="connsiteX0" fmla="*/ 292988 w 8490007"/>
              <a:gd name="connsiteY0" fmla="*/ 0 h 1610463"/>
              <a:gd name="connsiteX1" fmla="*/ 0 w 8490007"/>
              <a:gd name="connsiteY1" fmla="*/ 1610462 h 1610463"/>
              <a:gd name="connsiteX2" fmla="*/ 8490007 w 8490007"/>
              <a:gd name="connsiteY2" fmla="*/ 1588654 h 1610463"/>
              <a:gd name="connsiteX3" fmla="*/ 8476485 w 8490007"/>
              <a:gd name="connsiteY3" fmla="*/ 15265 h 1610463"/>
              <a:gd name="connsiteX4" fmla="*/ 292988 w 8490007"/>
              <a:gd name="connsiteY4" fmla="*/ 0 h 1610463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15265 h 1610462"/>
              <a:gd name="connsiteX4" fmla="*/ 292988 w 8481255"/>
              <a:gd name="connsiteY4" fmla="*/ 0 h 1610462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15265 h 1610462"/>
              <a:gd name="connsiteX4" fmla="*/ 292988 w 8481255"/>
              <a:gd name="connsiteY4" fmla="*/ 0 h 1610462"/>
              <a:gd name="connsiteX0" fmla="*/ 292988 w 8481255"/>
              <a:gd name="connsiteY0" fmla="*/ 10218 h 1620680"/>
              <a:gd name="connsiteX1" fmla="*/ 0 w 8481255"/>
              <a:gd name="connsiteY1" fmla="*/ 1620680 h 1620680"/>
              <a:gd name="connsiteX2" fmla="*/ 8481255 w 8481255"/>
              <a:gd name="connsiteY2" fmla="*/ 1598873 h 1620680"/>
              <a:gd name="connsiteX3" fmla="*/ 8476485 w 8481255"/>
              <a:gd name="connsiteY3" fmla="*/ 0 h 1620680"/>
              <a:gd name="connsiteX4" fmla="*/ 292988 w 8481255"/>
              <a:gd name="connsiteY4" fmla="*/ 10218 h 1620680"/>
              <a:gd name="connsiteX0" fmla="*/ 292988 w 8481255"/>
              <a:gd name="connsiteY0" fmla="*/ 0 h 1610462"/>
              <a:gd name="connsiteX1" fmla="*/ 0 w 8481255"/>
              <a:gd name="connsiteY1" fmla="*/ 1610462 h 1610462"/>
              <a:gd name="connsiteX2" fmla="*/ 8481255 w 8481255"/>
              <a:gd name="connsiteY2" fmla="*/ 1588655 h 1610462"/>
              <a:gd name="connsiteX3" fmla="*/ 8476485 w 8481255"/>
              <a:gd name="connsiteY3" fmla="*/ 2524 h 1610462"/>
              <a:gd name="connsiteX4" fmla="*/ 292988 w 8481255"/>
              <a:gd name="connsiteY4" fmla="*/ 0 h 1610462"/>
              <a:gd name="connsiteX0" fmla="*/ 292988 w 8476598"/>
              <a:gd name="connsiteY0" fmla="*/ 0 h 1610462"/>
              <a:gd name="connsiteX1" fmla="*/ 0 w 8476598"/>
              <a:gd name="connsiteY1" fmla="*/ 1610462 h 1610462"/>
              <a:gd name="connsiteX2" fmla="*/ 8455001 w 8476598"/>
              <a:gd name="connsiteY2" fmla="*/ 1601397 h 1610462"/>
              <a:gd name="connsiteX3" fmla="*/ 8476485 w 8476598"/>
              <a:gd name="connsiteY3" fmla="*/ 2524 h 1610462"/>
              <a:gd name="connsiteX4" fmla="*/ 292988 w 8476598"/>
              <a:gd name="connsiteY4" fmla="*/ 0 h 1610462"/>
              <a:gd name="connsiteX0" fmla="*/ 292988 w 8481256"/>
              <a:gd name="connsiteY0" fmla="*/ 0 h 1610462"/>
              <a:gd name="connsiteX1" fmla="*/ 0 w 8481256"/>
              <a:gd name="connsiteY1" fmla="*/ 1610462 h 1610462"/>
              <a:gd name="connsiteX2" fmla="*/ 8481256 w 8481256"/>
              <a:gd name="connsiteY2" fmla="*/ 1588655 h 1610462"/>
              <a:gd name="connsiteX3" fmla="*/ 8476485 w 8481256"/>
              <a:gd name="connsiteY3" fmla="*/ 2524 h 1610462"/>
              <a:gd name="connsiteX4" fmla="*/ 292988 w 8481256"/>
              <a:gd name="connsiteY4" fmla="*/ 0 h 1610462"/>
              <a:gd name="connsiteX0" fmla="*/ 292988 w 8481256"/>
              <a:gd name="connsiteY0" fmla="*/ 0 h 1626879"/>
              <a:gd name="connsiteX1" fmla="*/ 0 w 8481256"/>
              <a:gd name="connsiteY1" fmla="*/ 1610462 h 1626879"/>
              <a:gd name="connsiteX2" fmla="*/ 8481256 w 8481256"/>
              <a:gd name="connsiteY2" fmla="*/ 1626879 h 1626879"/>
              <a:gd name="connsiteX3" fmla="*/ 8476485 w 8481256"/>
              <a:gd name="connsiteY3" fmla="*/ 2524 h 1626879"/>
              <a:gd name="connsiteX4" fmla="*/ 292988 w 8481256"/>
              <a:gd name="connsiteY4" fmla="*/ 0 h 1626879"/>
              <a:gd name="connsiteX0" fmla="*/ 292988 w 8481256"/>
              <a:gd name="connsiteY0" fmla="*/ 0 h 1626879"/>
              <a:gd name="connsiteX1" fmla="*/ 0 w 8481256"/>
              <a:gd name="connsiteY1" fmla="*/ 1610462 h 1626879"/>
              <a:gd name="connsiteX2" fmla="*/ 8481256 w 8481256"/>
              <a:gd name="connsiteY2" fmla="*/ 1626879 h 1626879"/>
              <a:gd name="connsiteX3" fmla="*/ 8476485 w 8481256"/>
              <a:gd name="connsiteY3" fmla="*/ 2524 h 1626879"/>
              <a:gd name="connsiteX4" fmla="*/ 292988 w 8481256"/>
              <a:gd name="connsiteY4" fmla="*/ 0 h 1626879"/>
              <a:gd name="connsiteX0" fmla="*/ 292988 w 8481256"/>
              <a:gd name="connsiteY0" fmla="*/ 0 h 1614137"/>
              <a:gd name="connsiteX1" fmla="*/ 0 w 8481256"/>
              <a:gd name="connsiteY1" fmla="*/ 1610462 h 1614137"/>
              <a:gd name="connsiteX2" fmla="*/ 8481256 w 8481256"/>
              <a:gd name="connsiteY2" fmla="*/ 1614137 h 1614137"/>
              <a:gd name="connsiteX3" fmla="*/ 8476485 w 8481256"/>
              <a:gd name="connsiteY3" fmla="*/ 2524 h 1614137"/>
              <a:gd name="connsiteX4" fmla="*/ 292988 w 8481256"/>
              <a:gd name="connsiteY4" fmla="*/ 0 h 1614137"/>
              <a:gd name="connsiteX0" fmla="*/ 292988 w 8476950"/>
              <a:gd name="connsiteY0" fmla="*/ 0 h 1610462"/>
              <a:gd name="connsiteX1" fmla="*/ 0 w 8476950"/>
              <a:gd name="connsiteY1" fmla="*/ 1610462 h 1610462"/>
              <a:gd name="connsiteX2" fmla="*/ 8476606 w 8476950"/>
              <a:gd name="connsiteY2" fmla="*/ 1603983 h 1610462"/>
              <a:gd name="connsiteX3" fmla="*/ 8476485 w 8476950"/>
              <a:gd name="connsiteY3" fmla="*/ 2524 h 1610462"/>
              <a:gd name="connsiteX4" fmla="*/ 292988 w 8476950"/>
              <a:gd name="connsiteY4" fmla="*/ 0 h 161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76950" h="1610462">
                <a:moveTo>
                  <a:pt x="292988" y="0"/>
                </a:moveTo>
                <a:lnTo>
                  <a:pt x="0" y="1610462"/>
                </a:lnTo>
                <a:lnTo>
                  <a:pt x="8476606" y="1603983"/>
                </a:lnTo>
                <a:cubicBezTo>
                  <a:pt x="8472764" y="690544"/>
                  <a:pt x="8478567" y="1218599"/>
                  <a:pt x="8476485" y="2524"/>
                </a:cubicBezTo>
                <a:lnTo>
                  <a:pt x="292988" y="0"/>
                </a:lnTo>
                <a:close/>
              </a:path>
            </a:pathLst>
          </a:cu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70" dirty="0"/>
          </a:p>
        </p:txBody>
      </p:sp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C5FACCBB-6994-4084-B7B4-BDE597DA8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C5FACCBB-6994-4084-B7B4-BDE597DA8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ole tekstowe 16">
            <a:extLst>
              <a:ext uri="{FF2B5EF4-FFF2-40B4-BE49-F238E27FC236}">
                <a16:creationId xmlns:a16="http://schemas.microsoft.com/office/drawing/2014/main" id="{06AA0E6A-DA1C-7338-16B0-9B72D4D6FD13}"/>
              </a:ext>
            </a:extLst>
          </p:cNvPr>
          <p:cNvSpPr txBox="1"/>
          <p:nvPr/>
        </p:nvSpPr>
        <p:spPr>
          <a:xfrm>
            <a:off x="3531983" y="242201"/>
            <a:ext cx="11180716" cy="85328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r" rtl="0"/>
            <a:endParaRPr lang="pl-PL" sz="2400" dirty="0">
              <a:latin typeface="Gilroy Light" panose="00000400000000000000" pitchFamily="50" charset="-18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7B6C2280-32A5-82FC-F419-70DF073A1E7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64" b="32234"/>
          <a:stretch/>
        </p:blipFill>
        <p:spPr>
          <a:xfrm>
            <a:off x="1633733" y="1063948"/>
            <a:ext cx="14483919" cy="90855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DDDFD712-3CF6-777C-A639-D44370FAA5D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24" y="370285"/>
            <a:ext cx="2051348" cy="451735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C7653A13-2094-581F-FA64-DD08F243888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1" t="-2998" r="9208" b="17911"/>
          <a:stretch/>
        </p:blipFill>
        <p:spPr>
          <a:xfrm>
            <a:off x="0" y="8111954"/>
            <a:ext cx="16560799" cy="103883"/>
          </a:xfrm>
          <a:prstGeom prst="rect">
            <a:avLst/>
          </a:prstGeom>
        </p:spPr>
      </p:pic>
      <p:sp>
        <p:nvSpPr>
          <p:cNvPr id="7" name="object 30">
            <a:extLst>
              <a:ext uri="{FF2B5EF4-FFF2-40B4-BE49-F238E27FC236}">
                <a16:creationId xmlns:a16="http://schemas.microsoft.com/office/drawing/2014/main" id="{59DC40D2-3E41-6F9D-4358-3E714A005DA4}"/>
              </a:ext>
            </a:extLst>
          </p:cNvPr>
          <p:cNvSpPr txBox="1"/>
          <p:nvPr/>
        </p:nvSpPr>
        <p:spPr>
          <a:xfrm>
            <a:off x="3227433" y="448004"/>
            <a:ext cx="13747326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248285">
              <a:spcBef>
                <a:spcPts val="50"/>
              </a:spcBef>
            </a:pPr>
            <a:r>
              <a:rPr lang="pl-PL" sz="2800" b="1" spc="80" dirty="0">
                <a:cs typeface="Gilroy Light"/>
              </a:rPr>
              <a:t>STOWARZYSZENIE POLSKICH PRODUCENTÓW PŁYTEK CERAMICZNYCH</a:t>
            </a:r>
            <a:endParaRPr sz="2800" b="1" dirty="0">
              <a:cs typeface="Gilroy Light"/>
            </a:endParaRPr>
          </a:p>
        </p:txBody>
      </p:sp>
      <p:pic>
        <p:nvPicPr>
          <p:cNvPr id="15" name="Obraz 14">
            <a:extLst>
              <a:ext uri="{FF2B5EF4-FFF2-40B4-BE49-F238E27FC236}">
                <a16:creationId xmlns:a16="http://schemas.microsoft.com/office/drawing/2014/main" id="{39DA3125-DC01-04FE-D615-C1884CEE96A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100000">
            <a:off x="2623745" y="4563743"/>
            <a:ext cx="6957509" cy="263797"/>
          </a:xfrm>
          <a:prstGeom prst="rect">
            <a:avLst/>
          </a:prstGeom>
        </p:spPr>
      </p:pic>
      <p:sp>
        <p:nvSpPr>
          <p:cNvPr id="17" name="object 26">
            <a:extLst>
              <a:ext uri="{FF2B5EF4-FFF2-40B4-BE49-F238E27FC236}">
                <a16:creationId xmlns:a16="http://schemas.microsoft.com/office/drawing/2014/main" id="{D5F40707-4702-EBDE-8E0B-42BCA288A07D}"/>
              </a:ext>
            </a:extLst>
          </p:cNvPr>
          <p:cNvSpPr txBox="1"/>
          <p:nvPr/>
        </p:nvSpPr>
        <p:spPr>
          <a:xfrm>
            <a:off x="8979276" y="1757819"/>
            <a:ext cx="6681390" cy="7027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l-PL" sz="2000" spc="-10" dirty="0">
                <a:solidFill>
                  <a:schemeClr val="bg1"/>
                </a:solidFill>
                <a:latin typeface="Gilroy Light"/>
                <a:cs typeface="Gilroy Light"/>
              </a:rPr>
              <a:t>Zatrudnienie</a:t>
            </a:r>
            <a:r>
              <a:rPr lang="pl-PL" sz="2000" b="0" spc="-10" dirty="0">
                <a:solidFill>
                  <a:schemeClr val="bg1"/>
                </a:solidFill>
                <a:latin typeface="Gilroy Light"/>
                <a:cs typeface="Gilroy Light"/>
              </a:rPr>
              <a:t> ok. </a:t>
            </a:r>
            <a:r>
              <a:rPr sz="2400" b="1" spc="-5" dirty="0">
                <a:solidFill>
                  <a:schemeClr val="bg1"/>
                </a:solidFill>
                <a:latin typeface="Gilroy ExtraBold"/>
                <a:cs typeface="Gilroy ExtraBold"/>
              </a:rPr>
              <a:t>1</a:t>
            </a:r>
            <a:r>
              <a:rPr lang="pl-PL" sz="2400" b="1" spc="-5" dirty="0">
                <a:solidFill>
                  <a:schemeClr val="bg1"/>
                </a:solidFill>
                <a:latin typeface="Gilroy ExtraBold"/>
                <a:cs typeface="Gilroy ExtraBold"/>
              </a:rPr>
              <a:t>3 0</a:t>
            </a:r>
            <a:r>
              <a:rPr sz="2400" b="1" spc="-5" dirty="0">
                <a:solidFill>
                  <a:schemeClr val="bg1"/>
                </a:solidFill>
                <a:latin typeface="Gilroy ExtraBold"/>
                <a:cs typeface="Gilroy ExtraBold"/>
              </a:rPr>
              <a:t>00</a:t>
            </a:r>
            <a:r>
              <a:rPr lang="pl-PL" sz="2400" dirty="0">
                <a:solidFill>
                  <a:schemeClr val="bg1"/>
                </a:solidFill>
                <a:latin typeface="Gilroy ExtraBold"/>
                <a:cs typeface="Gilroy ExtraBold"/>
              </a:rPr>
              <a:t> </a:t>
            </a:r>
            <a:r>
              <a:rPr lang="pl-PL" sz="2000" spc="-10" dirty="0">
                <a:solidFill>
                  <a:schemeClr val="bg1"/>
                </a:solidFill>
                <a:latin typeface="Gilroy Light"/>
                <a:cs typeface="Gilroy ExtraBold"/>
              </a:rPr>
              <a:t>pracowników</a:t>
            </a:r>
            <a:r>
              <a:rPr lang="pl-PL" sz="2000" b="0" spc="-10" dirty="0">
                <a:solidFill>
                  <a:schemeClr val="bg1"/>
                </a:solidFill>
                <a:latin typeface="Gilroy Light"/>
                <a:cs typeface="Gilroy Light"/>
              </a:rPr>
              <a:t>, </a:t>
            </a:r>
          </a:p>
          <a:p>
            <a:pPr marL="12700">
              <a:spcBef>
                <a:spcPts val="100"/>
              </a:spcBef>
            </a:pPr>
            <a:r>
              <a:rPr lang="pl-PL" sz="2000" b="0" spc="-10" dirty="0">
                <a:solidFill>
                  <a:schemeClr val="bg1"/>
                </a:solidFill>
                <a:latin typeface="Gilroy Light"/>
                <a:cs typeface="Gilroy Light"/>
              </a:rPr>
              <a:t>łącznie z kooperantami, oznacza </a:t>
            </a:r>
            <a:r>
              <a:rPr lang="pl-PL" sz="2000" b="1" spc="-10" dirty="0">
                <a:solidFill>
                  <a:schemeClr val="bg1"/>
                </a:solidFill>
                <a:latin typeface="Gilroy Light"/>
                <a:cs typeface="Gilroy Light"/>
              </a:rPr>
              <a:t>60 000 </a:t>
            </a:r>
            <a:r>
              <a:rPr lang="pl-PL" sz="2000" b="0" spc="-10" dirty="0">
                <a:solidFill>
                  <a:schemeClr val="bg1"/>
                </a:solidFill>
                <a:latin typeface="Gilroy Light"/>
                <a:cs typeface="Gilroy Light"/>
              </a:rPr>
              <a:t>miejsc pracy</a:t>
            </a:r>
            <a:endParaRPr sz="2000" dirty="0">
              <a:solidFill>
                <a:schemeClr val="bg1"/>
              </a:solidFill>
              <a:latin typeface="Gilroy Light"/>
              <a:cs typeface="Gilroy Light"/>
            </a:endParaRPr>
          </a:p>
        </p:txBody>
      </p:sp>
      <p:grpSp>
        <p:nvGrpSpPr>
          <p:cNvPr id="25" name="Grupa 24">
            <a:extLst>
              <a:ext uri="{FF2B5EF4-FFF2-40B4-BE49-F238E27FC236}">
                <a16:creationId xmlns:a16="http://schemas.microsoft.com/office/drawing/2014/main" id="{D9A7B6A7-533A-F3FF-0D9B-4CD49DDD21B4}"/>
              </a:ext>
            </a:extLst>
          </p:cNvPr>
          <p:cNvGrpSpPr/>
          <p:nvPr/>
        </p:nvGrpSpPr>
        <p:grpSpPr>
          <a:xfrm>
            <a:off x="7470621" y="1922430"/>
            <a:ext cx="845267" cy="456848"/>
            <a:chOff x="3908735" y="3093005"/>
            <a:chExt cx="1087438" cy="587735"/>
          </a:xfrm>
          <a:solidFill>
            <a:schemeClr val="bg1"/>
          </a:solidFill>
        </p:grpSpPr>
        <p:sp>
          <p:nvSpPr>
            <p:cNvPr id="32" name="Grafika 5" descr="Grupowa burza mózgów">
              <a:extLst>
                <a:ext uri="{FF2B5EF4-FFF2-40B4-BE49-F238E27FC236}">
                  <a16:creationId xmlns:a16="http://schemas.microsoft.com/office/drawing/2014/main" id="{04A510C0-F57B-53BC-E674-8394085D7D04}"/>
                </a:ext>
              </a:extLst>
            </p:cNvPr>
            <p:cNvSpPr/>
            <p:nvPr/>
          </p:nvSpPr>
          <p:spPr>
            <a:xfrm>
              <a:off x="4646661" y="3093005"/>
              <a:ext cx="232997" cy="232997"/>
            </a:xfrm>
            <a:custGeom>
              <a:avLst/>
              <a:gdLst>
                <a:gd name="connsiteX0" fmla="*/ 232998 w 232997"/>
                <a:gd name="connsiteY0" fmla="*/ 116499 h 232997"/>
                <a:gd name="connsiteX1" fmla="*/ 116499 w 232997"/>
                <a:gd name="connsiteY1" fmla="*/ 232998 h 232997"/>
                <a:gd name="connsiteX2" fmla="*/ 0 w 232997"/>
                <a:gd name="connsiteY2" fmla="*/ 116499 h 232997"/>
                <a:gd name="connsiteX3" fmla="*/ 116499 w 232997"/>
                <a:gd name="connsiteY3" fmla="*/ 0 h 232997"/>
                <a:gd name="connsiteX4" fmla="*/ 232998 w 232997"/>
                <a:gd name="connsiteY4" fmla="*/ 116499 h 23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997" h="232997">
                  <a:moveTo>
                    <a:pt x="232998" y="116499"/>
                  </a:moveTo>
                  <a:cubicBezTo>
                    <a:pt x="232998" y="180839"/>
                    <a:pt x="180839" y="232998"/>
                    <a:pt x="116499" y="232998"/>
                  </a:cubicBezTo>
                  <a:cubicBezTo>
                    <a:pt x="52158" y="232998"/>
                    <a:pt x="0" y="180839"/>
                    <a:pt x="0" y="116499"/>
                  </a:cubicBezTo>
                  <a:cubicBezTo>
                    <a:pt x="0" y="52158"/>
                    <a:pt x="52158" y="0"/>
                    <a:pt x="116499" y="0"/>
                  </a:cubicBezTo>
                  <a:cubicBezTo>
                    <a:pt x="180839" y="0"/>
                    <a:pt x="232998" y="52158"/>
                    <a:pt x="232998" y="116499"/>
                  </a:cubicBez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4" name="Grafika 5" descr="Grupowa burza mózgów">
              <a:extLst>
                <a:ext uri="{FF2B5EF4-FFF2-40B4-BE49-F238E27FC236}">
                  <a16:creationId xmlns:a16="http://schemas.microsoft.com/office/drawing/2014/main" id="{863283DE-2ABF-6D10-368C-E5344D682C3F}"/>
                </a:ext>
              </a:extLst>
            </p:cNvPr>
            <p:cNvSpPr/>
            <p:nvPr/>
          </p:nvSpPr>
          <p:spPr>
            <a:xfrm>
              <a:off x="4025234" y="3093005"/>
              <a:ext cx="232997" cy="232997"/>
            </a:xfrm>
            <a:custGeom>
              <a:avLst/>
              <a:gdLst>
                <a:gd name="connsiteX0" fmla="*/ 232998 w 232997"/>
                <a:gd name="connsiteY0" fmla="*/ 116499 h 232997"/>
                <a:gd name="connsiteX1" fmla="*/ 116499 w 232997"/>
                <a:gd name="connsiteY1" fmla="*/ 232998 h 232997"/>
                <a:gd name="connsiteX2" fmla="*/ 0 w 232997"/>
                <a:gd name="connsiteY2" fmla="*/ 116499 h 232997"/>
                <a:gd name="connsiteX3" fmla="*/ 116499 w 232997"/>
                <a:gd name="connsiteY3" fmla="*/ 0 h 232997"/>
                <a:gd name="connsiteX4" fmla="*/ 232998 w 232997"/>
                <a:gd name="connsiteY4" fmla="*/ 116499 h 23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997" h="232997">
                  <a:moveTo>
                    <a:pt x="232998" y="116499"/>
                  </a:moveTo>
                  <a:cubicBezTo>
                    <a:pt x="232998" y="180839"/>
                    <a:pt x="180839" y="232998"/>
                    <a:pt x="116499" y="232998"/>
                  </a:cubicBezTo>
                  <a:cubicBezTo>
                    <a:pt x="52158" y="232998"/>
                    <a:pt x="0" y="180839"/>
                    <a:pt x="0" y="116499"/>
                  </a:cubicBezTo>
                  <a:cubicBezTo>
                    <a:pt x="0" y="52158"/>
                    <a:pt x="52158" y="0"/>
                    <a:pt x="116499" y="0"/>
                  </a:cubicBezTo>
                  <a:cubicBezTo>
                    <a:pt x="180839" y="0"/>
                    <a:pt x="232998" y="52158"/>
                    <a:pt x="232998" y="116499"/>
                  </a:cubicBez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6" name="Grafika 5" descr="Grupowa burza mózgów">
              <a:extLst>
                <a:ext uri="{FF2B5EF4-FFF2-40B4-BE49-F238E27FC236}">
                  <a16:creationId xmlns:a16="http://schemas.microsoft.com/office/drawing/2014/main" id="{229689E3-301A-FA53-2B89-1C52A0006F0E}"/>
                </a:ext>
              </a:extLst>
            </p:cNvPr>
            <p:cNvSpPr/>
            <p:nvPr/>
          </p:nvSpPr>
          <p:spPr>
            <a:xfrm>
              <a:off x="4573886" y="3357597"/>
              <a:ext cx="422287" cy="233297"/>
            </a:xfrm>
            <a:custGeom>
              <a:avLst/>
              <a:gdLst>
                <a:gd name="connsiteX0" fmla="*/ 398911 w 422287"/>
                <a:gd name="connsiteY0" fmla="*/ 69331 h 233297"/>
                <a:gd name="connsiteX1" fmla="*/ 285108 w 422287"/>
                <a:gd name="connsiteY1" fmla="*/ 14975 h 233297"/>
                <a:gd name="connsiteX2" fmla="*/ 189273 w 422287"/>
                <a:gd name="connsiteY2" fmla="*/ 1 h 233297"/>
                <a:gd name="connsiteX3" fmla="*/ 93439 w 422287"/>
                <a:gd name="connsiteY3" fmla="*/ 14975 h 233297"/>
                <a:gd name="connsiteX4" fmla="*/ 5391 w 422287"/>
                <a:gd name="connsiteY4" fmla="*/ 52710 h 233297"/>
                <a:gd name="connsiteX5" fmla="*/ 0 w 422287"/>
                <a:gd name="connsiteY5" fmla="*/ 58849 h 233297"/>
                <a:gd name="connsiteX6" fmla="*/ 119793 w 422287"/>
                <a:gd name="connsiteY6" fmla="*/ 118746 h 233297"/>
                <a:gd name="connsiteX7" fmla="*/ 163667 w 422287"/>
                <a:gd name="connsiteY7" fmla="*/ 206644 h 233297"/>
                <a:gd name="connsiteX8" fmla="*/ 163667 w 422287"/>
                <a:gd name="connsiteY8" fmla="*/ 233298 h 233297"/>
                <a:gd name="connsiteX9" fmla="*/ 422271 w 422287"/>
                <a:gd name="connsiteY9" fmla="*/ 233298 h 233297"/>
                <a:gd name="connsiteX10" fmla="*/ 422271 w 422287"/>
                <a:gd name="connsiteY10" fmla="*/ 116050 h 233297"/>
                <a:gd name="connsiteX11" fmla="*/ 398911 w 422287"/>
                <a:gd name="connsiteY11" fmla="*/ 69331 h 233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2287" h="233297">
                  <a:moveTo>
                    <a:pt x="398911" y="69331"/>
                  </a:moveTo>
                  <a:cubicBezTo>
                    <a:pt x="365354" y="43195"/>
                    <a:pt x="326526" y="24651"/>
                    <a:pt x="285108" y="14975"/>
                  </a:cubicBezTo>
                  <a:cubicBezTo>
                    <a:pt x="253939" y="5883"/>
                    <a:pt x="221730" y="850"/>
                    <a:pt x="189273" y="1"/>
                  </a:cubicBezTo>
                  <a:cubicBezTo>
                    <a:pt x="156740" y="-71"/>
                    <a:pt x="124399" y="4983"/>
                    <a:pt x="93439" y="14975"/>
                  </a:cubicBezTo>
                  <a:cubicBezTo>
                    <a:pt x="62423" y="23241"/>
                    <a:pt x="32766" y="35951"/>
                    <a:pt x="5391" y="52710"/>
                  </a:cubicBezTo>
                  <a:cubicBezTo>
                    <a:pt x="3594" y="54806"/>
                    <a:pt x="1947" y="56903"/>
                    <a:pt x="0" y="58849"/>
                  </a:cubicBezTo>
                  <a:cubicBezTo>
                    <a:pt x="43548" y="70569"/>
                    <a:pt x="84288" y="90940"/>
                    <a:pt x="119793" y="118746"/>
                  </a:cubicBezTo>
                  <a:cubicBezTo>
                    <a:pt x="147810" y="139194"/>
                    <a:pt x="164166" y="171962"/>
                    <a:pt x="163667" y="206644"/>
                  </a:cubicBezTo>
                  <a:lnTo>
                    <a:pt x="163667" y="233298"/>
                  </a:lnTo>
                  <a:lnTo>
                    <a:pt x="422271" y="233298"/>
                  </a:lnTo>
                  <a:lnTo>
                    <a:pt x="422271" y="116050"/>
                  </a:lnTo>
                  <a:cubicBezTo>
                    <a:pt x="422721" y="97565"/>
                    <a:pt x="413969" y="80062"/>
                    <a:pt x="398911" y="69331"/>
                  </a:cubicBez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8" name="Grafika 5" descr="Grupowa burza mózgów">
              <a:extLst>
                <a:ext uri="{FF2B5EF4-FFF2-40B4-BE49-F238E27FC236}">
                  <a16:creationId xmlns:a16="http://schemas.microsoft.com/office/drawing/2014/main" id="{EC3BE4EB-1569-7A66-A8F3-C5055254BA0A}"/>
                </a:ext>
              </a:extLst>
            </p:cNvPr>
            <p:cNvSpPr/>
            <p:nvPr/>
          </p:nvSpPr>
          <p:spPr>
            <a:xfrm>
              <a:off x="3908735" y="3357598"/>
              <a:ext cx="422270" cy="233297"/>
            </a:xfrm>
            <a:custGeom>
              <a:avLst/>
              <a:gdLst>
                <a:gd name="connsiteX0" fmla="*/ 258903 w 422270"/>
                <a:gd name="connsiteY0" fmla="*/ 206644 h 233297"/>
                <a:gd name="connsiteX1" fmla="*/ 300830 w 422270"/>
                <a:gd name="connsiteY1" fmla="*/ 120243 h 233297"/>
                <a:gd name="connsiteX2" fmla="*/ 302627 w 422270"/>
                <a:gd name="connsiteY2" fmla="*/ 118745 h 233297"/>
                <a:gd name="connsiteX3" fmla="*/ 304574 w 422270"/>
                <a:gd name="connsiteY3" fmla="*/ 117398 h 233297"/>
                <a:gd name="connsiteX4" fmla="*/ 422271 w 422270"/>
                <a:gd name="connsiteY4" fmla="*/ 58999 h 233297"/>
                <a:gd name="connsiteX5" fmla="*/ 413735 w 422270"/>
                <a:gd name="connsiteY5" fmla="*/ 49265 h 233297"/>
                <a:gd name="connsiteX6" fmla="*/ 329431 w 422270"/>
                <a:gd name="connsiteY6" fmla="*/ 14975 h 233297"/>
                <a:gd name="connsiteX7" fmla="*/ 233597 w 422270"/>
                <a:gd name="connsiteY7" fmla="*/ 1 h 233297"/>
                <a:gd name="connsiteX8" fmla="*/ 137762 w 422270"/>
                <a:gd name="connsiteY8" fmla="*/ 14975 h 233297"/>
                <a:gd name="connsiteX9" fmla="*/ 23959 w 422270"/>
                <a:gd name="connsiteY9" fmla="*/ 69331 h 233297"/>
                <a:gd name="connsiteX10" fmla="*/ 0 w 422270"/>
                <a:gd name="connsiteY10" fmla="*/ 116050 h 233297"/>
                <a:gd name="connsiteX11" fmla="*/ 0 w 422270"/>
                <a:gd name="connsiteY11" fmla="*/ 233298 h 233297"/>
                <a:gd name="connsiteX12" fmla="*/ 258903 w 422270"/>
                <a:gd name="connsiteY12" fmla="*/ 233298 h 233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2270" h="233297">
                  <a:moveTo>
                    <a:pt x="258903" y="206644"/>
                  </a:moveTo>
                  <a:cubicBezTo>
                    <a:pt x="258936" y="172949"/>
                    <a:pt x="274382" y="141120"/>
                    <a:pt x="300830" y="120243"/>
                  </a:cubicBezTo>
                  <a:lnTo>
                    <a:pt x="302627" y="118745"/>
                  </a:lnTo>
                  <a:lnTo>
                    <a:pt x="304574" y="117398"/>
                  </a:lnTo>
                  <a:cubicBezTo>
                    <a:pt x="340485" y="91852"/>
                    <a:pt x="380207" y="72143"/>
                    <a:pt x="422271" y="58999"/>
                  </a:cubicBezTo>
                  <a:cubicBezTo>
                    <a:pt x="419276" y="55854"/>
                    <a:pt x="416580" y="52560"/>
                    <a:pt x="413735" y="49265"/>
                  </a:cubicBezTo>
                  <a:cubicBezTo>
                    <a:pt x="387420" y="33860"/>
                    <a:pt x="359029" y="22312"/>
                    <a:pt x="329431" y="14975"/>
                  </a:cubicBezTo>
                  <a:cubicBezTo>
                    <a:pt x="298265" y="5870"/>
                    <a:pt x="266053" y="836"/>
                    <a:pt x="233597" y="1"/>
                  </a:cubicBezTo>
                  <a:cubicBezTo>
                    <a:pt x="201064" y="-61"/>
                    <a:pt x="168726" y="4993"/>
                    <a:pt x="137762" y="14975"/>
                  </a:cubicBezTo>
                  <a:cubicBezTo>
                    <a:pt x="96920" y="26243"/>
                    <a:pt x="58393" y="44646"/>
                    <a:pt x="23959" y="69331"/>
                  </a:cubicBezTo>
                  <a:cubicBezTo>
                    <a:pt x="9209" y="80388"/>
                    <a:pt x="371" y="97620"/>
                    <a:pt x="0" y="116050"/>
                  </a:cubicBezTo>
                  <a:lnTo>
                    <a:pt x="0" y="233298"/>
                  </a:lnTo>
                  <a:lnTo>
                    <a:pt x="258903" y="233298"/>
                  </a:ln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9" name="Grafika 5" descr="Grupowa burza mózgów">
              <a:extLst>
                <a:ext uri="{FF2B5EF4-FFF2-40B4-BE49-F238E27FC236}">
                  <a16:creationId xmlns:a16="http://schemas.microsoft.com/office/drawing/2014/main" id="{975CCFC2-99A9-8DD6-7B46-0F2A8D985369}"/>
                </a:ext>
              </a:extLst>
            </p:cNvPr>
            <p:cNvSpPr/>
            <p:nvPr/>
          </p:nvSpPr>
          <p:spPr>
            <a:xfrm>
              <a:off x="4219448" y="3448339"/>
              <a:ext cx="466014" cy="232401"/>
            </a:xfrm>
            <a:custGeom>
              <a:avLst/>
              <a:gdLst>
                <a:gd name="connsiteX0" fmla="*/ 0 w 466014"/>
                <a:gd name="connsiteY0" fmla="*/ 232401 h 232401"/>
                <a:gd name="connsiteX1" fmla="*/ 0 w 466014"/>
                <a:gd name="connsiteY1" fmla="*/ 115902 h 232401"/>
                <a:gd name="connsiteX2" fmla="*/ 23360 w 466014"/>
                <a:gd name="connsiteY2" fmla="*/ 69333 h 232401"/>
                <a:gd name="connsiteX3" fmla="*/ 137163 w 466014"/>
                <a:gd name="connsiteY3" fmla="*/ 14977 h 232401"/>
                <a:gd name="connsiteX4" fmla="*/ 232998 w 466014"/>
                <a:gd name="connsiteY4" fmla="*/ 3 h 232401"/>
                <a:gd name="connsiteX5" fmla="*/ 328832 w 466014"/>
                <a:gd name="connsiteY5" fmla="*/ 14977 h 232401"/>
                <a:gd name="connsiteX6" fmla="*/ 442785 w 466014"/>
                <a:gd name="connsiteY6" fmla="*/ 69333 h 232401"/>
                <a:gd name="connsiteX7" fmla="*/ 465995 w 466014"/>
                <a:gd name="connsiteY7" fmla="*/ 115902 h 232401"/>
                <a:gd name="connsiteX8" fmla="*/ 465995 w 466014"/>
                <a:gd name="connsiteY8" fmla="*/ 232401 h 23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014" h="232401">
                  <a:moveTo>
                    <a:pt x="0" y="232401"/>
                  </a:moveTo>
                  <a:lnTo>
                    <a:pt x="0" y="115902"/>
                  </a:lnTo>
                  <a:cubicBezTo>
                    <a:pt x="70" y="97578"/>
                    <a:pt x="8715" y="80345"/>
                    <a:pt x="23360" y="69333"/>
                  </a:cubicBezTo>
                  <a:cubicBezTo>
                    <a:pt x="57731" y="44543"/>
                    <a:pt x="96279" y="26131"/>
                    <a:pt x="137163" y="14977"/>
                  </a:cubicBezTo>
                  <a:cubicBezTo>
                    <a:pt x="168110" y="4926"/>
                    <a:pt x="200460" y="-129"/>
                    <a:pt x="232998" y="3"/>
                  </a:cubicBezTo>
                  <a:cubicBezTo>
                    <a:pt x="265461" y="765"/>
                    <a:pt x="297683" y="5800"/>
                    <a:pt x="328832" y="14977"/>
                  </a:cubicBezTo>
                  <a:cubicBezTo>
                    <a:pt x="370331" y="24554"/>
                    <a:pt x="409227" y="43109"/>
                    <a:pt x="442785" y="69333"/>
                  </a:cubicBezTo>
                  <a:cubicBezTo>
                    <a:pt x="457783" y="80032"/>
                    <a:pt x="466482" y="97486"/>
                    <a:pt x="465995" y="115902"/>
                  </a:cubicBezTo>
                  <a:lnTo>
                    <a:pt x="465995" y="232401"/>
                  </a:ln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0" name="Grafika 5" descr="Grupowa burza mózgów">
              <a:extLst>
                <a:ext uri="{FF2B5EF4-FFF2-40B4-BE49-F238E27FC236}">
                  <a16:creationId xmlns:a16="http://schemas.microsoft.com/office/drawing/2014/main" id="{8683CEA6-345D-F6BB-1938-C482F7487915}"/>
                </a:ext>
              </a:extLst>
            </p:cNvPr>
            <p:cNvSpPr/>
            <p:nvPr/>
          </p:nvSpPr>
          <p:spPr>
            <a:xfrm>
              <a:off x="4335947" y="3183599"/>
              <a:ext cx="232997" cy="232997"/>
            </a:xfrm>
            <a:custGeom>
              <a:avLst/>
              <a:gdLst>
                <a:gd name="connsiteX0" fmla="*/ 232998 w 232997"/>
                <a:gd name="connsiteY0" fmla="*/ 116499 h 232997"/>
                <a:gd name="connsiteX1" fmla="*/ 116499 w 232997"/>
                <a:gd name="connsiteY1" fmla="*/ 232998 h 232997"/>
                <a:gd name="connsiteX2" fmla="*/ 0 w 232997"/>
                <a:gd name="connsiteY2" fmla="*/ 116499 h 232997"/>
                <a:gd name="connsiteX3" fmla="*/ 116499 w 232997"/>
                <a:gd name="connsiteY3" fmla="*/ 0 h 232997"/>
                <a:gd name="connsiteX4" fmla="*/ 232998 w 232997"/>
                <a:gd name="connsiteY4" fmla="*/ 116499 h 23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997" h="232997">
                  <a:moveTo>
                    <a:pt x="232998" y="116499"/>
                  </a:moveTo>
                  <a:cubicBezTo>
                    <a:pt x="232998" y="180839"/>
                    <a:pt x="180839" y="232998"/>
                    <a:pt x="116499" y="232998"/>
                  </a:cubicBezTo>
                  <a:cubicBezTo>
                    <a:pt x="52158" y="232998"/>
                    <a:pt x="0" y="180839"/>
                    <a:pt x="0" y="116499"/>
                  </a:cubicBezTo>
                  <a:cubicBezTo>
                    <a:pt x="0" y="52158"/>
                    <a:pt x="52158" y="0"/>
                    <a:pt x="116499" y="0"/>
                  </a:cubicBezTo>
                  <a:cubicBezTo>
                    <a:pt x="180839" y="0"/>
                    <a:pt x="232998" y="52158"/>
                    <a:pt x="232998" y="116499"/>
                  </a:cubicBez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sp>
        <p:nvSpPr>
          <p:cNvPr id="51" name="object 26">
            <a:extLst>
              <a:ext uri="{FF2B5EF4-FFF2-40B4-BE49-F238E27FC236}">
                <a16:creationId xmlns:a16="http://schemas.microsoft.com/office/drawing/2014/main" id="{AC9D9735-2400-FC80-7439-B465B2386FE7}"/>
              </a:ext>
            </a:extLst>
          </p:cNvPr>
          <p:cNvSpPr txBox="1"/>
          <p:nvPr/>
        </p:nvSpPr>
        <p:spPr>
          <a:xfrm>
            <a:off x="8575865" y="3156078"/>
            <a:ext cx="668139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l-PL" sz="2400" b="1" spc="-5" dirty="0">
                <a:solidFill>
                  <a:schemeClr val="bg1"/>
                </a:solidFill>
                <a:latin typeface="Gilroy ExtraBold"/>
                <a:cs typeface="Gilroy ExtraBold"/>
              </a:rPr>
              <a:t>95%</a:t>
            </a:r>
            <a:r>
              <a:rPr lang="pl-PL" sz="2000" dirty="0">
                <a:solidFill>
                  <a:schemeClr val="bg1"/>
                </a:solidFill>
                <a:latin typeface="Gilroy ExtraBold"/>
                <a:cs typeface="Gilroy ExtraBold"/>
              </a:rPr>
              <a:t> </a:t>
            </a:r>
            <a:r>
              <a:rPr lang="pl-PL" sz="2000" spc="-10" dirty="0">
                <a:solidFill>
                  <a:schemeClr val="bg1"/>
                </a:solidFill>
                <a:latin typeface="Gilroy Light"/>
                <a:cs typeface="Gilroy ExtraBold"/>
              </a:rPr>
              <a:t>produkcji krajowej</a:t>
            </a:r>
            <a:endParaRPr lang="pl-PL" sz="2000" b="0" spc="-10" dirty="0">
              <a:solidFill>
                <a:schemeClr val="bg1"/>
              </a:solidFill>
              <a:latin typeface="Gilroy Light"/>
              <a:cs typeface="Gilroy Light"/>
            </a:endParaRPr>
          </a:p>
        </p:txBody>
      </p:sp>
      <p:sp>
        <p:nvSpPr>
          <p:cNvPr id="60" name="object 26">
            <a:extLst>
              <a:ext uri="{FF2B5EF4-FFF2-40B4-BE49-F238E27FC236}">
                <a16:creationId xmlns:a16="http://schemas.microsoft.com/office/drawing/2014/main" id="{E23BA6F7-2BDA-DC40-094C-D877BE025240}"/>
              </a:ext>
            </a:extLst>
          </p:cNvPr>
          <p:cNvSpPr txBox="1"/>
          <p:nvPr/>
        </p:nvSpPr>
        <p:spPr>
          <a:xfrm>
            <a:off x="8315888" y="4172640"/>
            <a:ext cx="7190812" cy="7643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l-PL" sz="2000" b="0" spc="-10" dirty="0">
                <a:solidFill>
                  <a:schemeClr val="bg1"/>
                </a:solidFill>
                <a:latin typeface="Gilroy Light"/>
                <a:cs typeface="Gilroy Light"/>
              </a:rPr>
              <a:t>Zdolność produkcyjna ok. </a:t>
            </a:r>
            <a:r>
              <a:rPr lang="pl-PL" sz="2400" b="1" spc="-5" dirty="0">
                <a:solidFill>
                  <a:schemeClr val="bg1"/>
                </a:solidFill>
                <a:latin typeface="Gilroy ExtraBold"/>
                <a:cs typeface="Gilroy ExtraBold"/>
              </a:rPr>
              <a:t>130</a:t>
            </a:r>
            <a:r>
              <a:rPr lang="pl-PL" sz="2400" dirty="0">
                <a:solidFill>
                  <a:schemeClr val="bg1"/>
                </a:solidFill>
                <a:latin typeface="Gilroy ExtraBold"/>
                <a:cs typeface="Gilroy ExtraBold"/>
              </a:rPr>
              <a:t> </a:t>
            </a:r>
            <a:r>
              <a:rPr lang="pl-PL" sz="2400" b="0" spc="-10" dirty="0">
                <a:solidFill>
                  <a:schemeClr val="bg1"/>
                </a:solidFill>
                <a:latin typeface="Gilroy ExtraBold" panose="00000900000000000000" pitchFamily="50" charset="-18"/>
                <a:cs typeface="Gilroy Light"/>
              </a:rPr>
              <a:t>mln </a:t>
            </a:r>
            <a:r>
              <a:rPr lang="pl-PL" sz="2000" b="0" spc="-10" dirty="0">
                <a:solidFill>
                  <a:schemeClr val="bg1"/>
                </a:solidFill>
                <a:latin typeface="Gilroy ExtraBold" panose="00000900000000000000" pitchFamily="50" charset="-18"/>
                <a:cs typeface="Gilroy Light"/>
              </a:rPr>
              <a:t>metrów kwadratowych</a:t>
            </a:r>
            <a:endParaRPr lang="pl-PL" sz="2000" spc="-10" dirty="0">
              <a:solidFill>
                <a:schemeClr val="bg1"/>
              </a:solidFill>
              <a:latin typeface="Gilroy Light"/>
              <a:cs typeface="Gilroy Light"/>
            </a:endParaRPr>
          </a:p>
          <a:p>
            <a:pPr marL="12700">
              <a:spcBef>
                <a:spcPts val="100"/>
              </a:spcBef>
            </a:pPr>
            <a:r>
              <a:rPr lang="pl-PL" sz="2000" b="0" spc="-10" dirty="0">
                <a:solidFill>
                  <a:schemeClr val="bg1"/>
                </a:solidFill>
                <a:latin typeface="Gilroy Light"/>
                <a:cs typeface="Gilroy Light"/>
              </a:rPr>
              <a:t>płytek ceramicznych rocznie – </a:t>
            </a:r>
            <a:r>
              <a:rPr lang="pl-PL" sz="2400" b="0" spc="-10" dirty="0">
                <a:solidFill>
                  <a:schemeClr val="bg1"/>
                </a:solidFill>
                <a:latin typeface="Gilroy ExtraBold" panose="00000900000000000000" pitchFamily="50" charset="-18"/>
                <a:cs typeface="Gilroy Light"/>
              </a:rPr>
              <a:t>3 miejsce </a:t>
            </a:r>
            <a:r>
              <a:rPr lang="pl-PL" sz="2000" spc="-10" dirty="0">
                <a:solidFill>
                  <a:schemeClr val="bg1"/>
                </a:solidFill>
                <a:latin typeface="Gilroy Light"/>
                <a:cs typeface="Gilroy Light"/>
              </a:rPr>
              <a:t>w Europie</a:t>
            </a:r>
            <a:endParaRPr sz="2000" dirty="0">
              <a:solidFill>
                <a:schemeClr val="bg1"/>
              </a:solidFill>
              <a:latin typeface="Gilroy Light"/>
              <a:cs typeface="Gilroy Light"/>
            </a:endParaRPr>
          </a:p>
        </p:txBody>
      </p:sp>
      <p:sp>
        <p:nvSpPr>
          <p:cNvPr id="69" name="object 26">
            <a:extLst>
              <a:ext uri="{FF2B5EF4-FFF2-40B4-BE49-F238E27FC236}">
                <a16:creationId xmlns:a16="http://schemas.microsoft.com/office/drawing/2014/main" id="{9BA27E22-125C-1DC8-E8B0-B557F6D4550A}"/>
              </a:ext>
            </a:extLst>
          </p:cNvPr>
          <p:cNvSpPr txBox="1"/>
          <p:nvPr/>
        </p:nvSpPr>
        <p:spPr>
          <a:xfrm>
            <a:off x="8082803" y="5587998"/>
            <a:ext cx="668139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l-PL" sz="2000" b="0" spc="-10" dirty="0">
                <a:solidFill>
                  <a:schemeClr val="bg1"/>
                </a:solidFill>
                <a:latin typeface="Gilroy Light"/>
                <a:cs typeface="Gilroy Light"/>
              </a:rPr>
              <a:t>Obrót  </a:t>
            </a:r>
            <a:r>
              <a:rPr lang="pl-PL" sz="2400" b="1" spc="-5" dirty="0">
                <a:solidFill>
                  <a:schemeClr val="bg1"/>
                </a:solidFill>
                <a:latin typeface="Gilroy ExtraBold"/>
                <a:cs typeface="Gilroy ExtraBold"/>
              </a:rPr>
              <a:t>3 – 3.5</a:t>
            </a:r>
            <a:r>
              <a:rPr lang="pl-PL" sz="2400" dirty="0">
                <a:solidFill>
                  <a:schemeClr val="bg1"/>
                </a:solidFill>
                <a:latin typeface="Gilroy ExtraBold"/>
                <a:cs typeface="Gilroy ExtraBold"/>
              </a:rPr>
              <a:t> </a:t>
            </a:r>
            <a:r>
              <a:rPr lang="pl-PL" sz="2400" spc="-10" dirty="0">
                <a:solidFill>
                  <a:schemeClr val="bg1"/>
                </a:solidFill>
                <a:latin typeface="Gilroy ExtraBold" panose="00000900000000000000" pitchFamily="50" charset="-18"/>
                <a:cs typeface="Gilroy ExtraBold"/>
              </a:rPr>
              <a:t>mld</a:t>
            </a:r>
            <a:r>
              <a:rPr lang="pl-PL" sz="2400" b="0" spc="-10" dirty="0">
                <a:solidFill>
                  <a:schemeClr val="bg1"/>
                </a:solidFill>
                <a:latin typeface="Gilroy Light"/>
                <a:cs typeface="Gilroy Light"/>
              </a:rPr>
              <a:t> </a:t>
            </a:r>
            <a:r>
              <a:rPr lang="pl-PL" sz="2000" b="0" spc="-10" dirty="0">
                <a:solidFill>
                  <a:schemeClr val="bg1"/>
                </a:solidFill>
                <a:latin typeface="Gilroy Light"/>
                <a:cs typeface="Gilroy Light"/>
              </a:rPr>
              <a:t>PLN</a:t>
            </a:r>
            <a:r>
              <a:rPr lang="pl-PL" sz="2400" b="0" spc="-10" dirty="0">
                <a:solidFill>
                  <a:schemeClr val="bg1"/>
                </a:solidFill>
                <a:latin typeface="Gilroy Light"/>
                <a:cs typeface="Gilroy Light"/>
              </a:rPr>
              <a:t> </a:t>
            </a:r>
            <a:r>
              <a:rPr lang="pl-PL" sz="2000" b="0" spc="-10" dirty="0">
                <a:solidFill>
                  <a:schemeClr val="bg1"/>
                </a:solidFill>
                <a:latin typeface="Gilroy Light"/>
                <a:cs typeface="Gilroy Light"/>
              </a:rPr>
              <a:t>na rok</a:t>
            </a:r>
          </a:p>
        </p:txBody>
      </p:sp>
      <p:sp>
        <p:nvSpPr>
          <p:cNvPr id="78" name="object 26">
            <a:extLst>
              <a:ext uri="{FF2B5EF4-FFF2-40B4-BE49-F238E27FC236}">
                <a16:creationId xmlns:a16="http://schemas.microsoft.com/office/drawing/2014/main" id="{7777D7CF-D461-C2C6-AAB4-A4635FCDA78E}"/>
              </a:ext>
            </a:extLst>
          </p:cNvPr>
          <p:cNvSpPr txBox="1"/>
          <p:nvPr/>
        </p:nvSpPr>
        <p:spPr>
          <a:xfrm>
            <a:off x="7822825" y="6801815"/>
            <a:ext cx="668139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l-PL" sz="2000" b="0" spc="-10" dirty="0">
                <a:solidFill>
                  <a:schemeClr val="bg1"/>
                </a:solidFill>
                <a:latin typeface="Gilroy Light"/>
                <a:cs typeface="Gilroy Light"/>
              </a:rPr>
              <a:t>Sprzedaż w ponad </a:t>
            </a:r>
            <a:r>
              <a:rPr lang="pl-PL" sz="2400" b="1" spc="-5" dirty="0">
                <a:solidFill>
                  <a:schemeClr val="bg1"/>
                </a:solidFill>
                <a:latin typeface="Gilroy ExtraBold"/>
                <a:cs typeface="Gilroy ExtraBold"/>
              </a:rPr>
              <a:t>70 państw </a:t>
            </a:r>
            <a:r>
              <a:rPr lang="pl-PL" sz="2000" spc="-10" dirty="0">
                <a:solidFill>
                  <a:schemeClr val="bg1"/>
                </a:solidFill>
                <a:latin typeface="Gilroy Light"/>
                <a:cs typeface="Gilroy ExtraBold"/>
              </a:rPr>
              <a:t>świata</a:t>
            </a:r>
            <a:endParaRPr lang="pl-PL" sz="2000" b="0" spc="-10" dirty="0">
              <a:solidFill>
                <a:schemeClr val="bg1"/>
              </a:solidFill>
              <a:latin typeface="Gilroy Light"/>
              <a:cs typeface="Gilroy Light"/>
            </a:endParaRPr>
          </a:p>
        </p:txBody>
      </p:sp>
      <p:grpSp>
        <p:nvGrpSpPr>
          <p:cNvPr id="86" name="Grafika 8" descr="Koła zębate">
            <a:extLst>
              <a:ext uri="{FF2B5EF4-FFF2-40B4-BE49-F238E27FC236}">
                <a16:creationId xmlns:a16="http://schemas.microsoft.com/office/drawing/2014/main" id="{749A38C6-7E45-F8D4-7805-3BC7B137DC9E}"/>
              </a:ext>
            </a:extLst>
          </p:cNvPr>
          <p:cNvGrpSpPr/>
          <p:nvPr/>
        </p:nvGrpSpPr>
        <p:grpSpPr>
          <a:xfrm rot="5400000">
            <a:off x="6941366" y="4248288"/>
            <a:ext cx="535306" cy="647786"/>
            <a:chOff x="5036588" y="4156978"/>
            <a:chExt cx="517361" cy="626071"/>
          </a:xfrm>
          <a:solidFill>
            <a:schemeClr val="bg1"/>
          </a:solidFill>
        </p:grpSpPr>
        <p:sp>
          <p:nvSpPr>
            <p:cNvPr id="87" name="Grafika 8" descr="Koła zębate">
              <a:extLst>
                <a:ext uri="{FF2B5EF4-FFF2-40B4-BE49-F238E27FC236}">
                  <a16:creationId xmlns:a16="http://schemas.microsoft.com/office/drawing/2014/main" id="{6856BCB9-5B66-77CE-C8D6-DA027B25D865}"/>
                </a:ext>
              </a:extLst>
            </p:cNvPr>
            <p:cNvSpPr/>
            <p:nvPr/>
          </p:nvSpPr>
          <p:spPr>
            <a:xfrm>
              <a:off x="5215920" y="4156978"/>
              <a:ext cx="338030" cy="337237"/>
            </a:xfrm>
            <a:custGeom>
              <a:avLst/>
              <a:gdLst>
                <a:gd name="connsiteX0" fmla="*/ 169016 w 338030"/>
                <a:gd name="connsiteY0" fmla="*/ 228528 h 337237"/>
                <a:gd name="connsiteX1" fmla="*/ 109503 w 338030"/>
                <a:gd name="connsiteY1" fmla="*/ 169016 h 337237"/>
                <a:gd name="connsiteX2" fmla="*/ 169016 w 338030"/>
                <a:gd name="connsiteY2" fmla="*/ 109503 h 337237"/>
                <a:gd name="connsiteX3" fmla="*/ 228528 w 338030"/>
                <a:gd name="connsiteY3" fmla="*/ 169016 h 337237"/>
                <a:gd name="connsiteX4" fmla="*/ 169016 w 338030"/>
                <a:gd name="connsiteY4" fmla="*/ 228528 h 337237"/>
                <a:gd name="connsiteX5" fmla="*/ 303117 w 338030"/>
                <a:gd name="connsiteY5" fmla="*/ 131721 h 337237"/>
                <a:gd name="connsiteX6" fmla="*/ 290421 w 338030"/>
                <a:gd name="connsiteY6" fmla="*/ 100775 h 337237"/>
                <a:gd name="connsiteX7" fmla="*/ 303117 w 338030"/>
                <a:gd name="connsiteY7" fmla="*/ 63480 h 337237"/>
                <a:gd name="connsiteX8" fmla="*/ 274551 w 338030"/>
                <a:gd name="connsiteY8" fmla="*/ 34914 h 337237"/>
                <a:gd name="connsiteX9" fmla="*/ 237257 w 338030"/>
                <a:gd name="connsiteY9" fmla="*/ 47610 h 337237"/>
                <a:gd name="connsiteX10" fmla="*/ 206310 w 338030"/>
                <a:gd name="connsiteY10" fmla="*/ 34914 h 337237"/>
                <a:gd name="connsiteX11" fmla="*/ 188853 w 338030"/>
                <a:gd name="connsiteY11" fmla="*/ 0 h 337237"/>
                <a:gd name="connsiteX12" fmla="*/ 149178 w 338030"/>
                <a:gd name="connsiteY12" fmla="*/ 0 h 337237"/>
                <a:gd name="connsiteX13" fmla="*/ 131721 w 338030"/>
                <a:gd name="connsiteY13" fmla="*/ 34914 h 337237"/>
                <a:gd name="connsiteX14" fmla="*/ 100775 w 338030"/>
                <a:gd name="connsiteY14" fmla="*/ 47610 h 337237"/>
                <a:gd name="connsiteX15" fmla="*/ 63480 w 338030"/>
                <a:gd name="connsiteY15" fmla="*/ 34914 h 337237"/>
                <a:gd name="connsiteX16" fmla="*/ 34914 w 338030"/>
                <a:gd name="connsiteY16" fmla="*/ 63480 h 337237"/>
                <a:gd name="connsiteX17" fmla="*/ 47610 w 338030"/>
                <a:gd name="connsiteY17" fmla="*/ 100775 h 337237"/>
                <a:gd name="connsiteX18" fmla="*/ 34914 w 338030"/>
                <a:gd name="connsiteY18" fmla="*/ 131721 h 337237"/>
                <a:gd name="connsiteX19" fmla="*/ 0 w 338030"/>
                <a:gd name="connsiteY19" fmla="*/ 149178 h 337237"/>
                <a:gd name="connsiteX20" fmla="*/ 0 w 338030"/>
                <a:gd name="connsiteY20" fmla="*/ 188853 h 337237"/>
                <a:gd name="connsiteX21" fmla="*/ 34914 w 338030"/>
                <a:gd name="connsiteY21" fmla="*/ 206310 h 337237"/>
                <a:gd name="connsiteX22" fmla="*/ 47610 w 338030"/>
                <a:gd name="connsiteY22" fmla="*/ 237257 h 337237"/>
                <a:gd name="connsiteX23" fmla="*/ 34914 w 338030"/>
                <a:gd name="connsiteY23" fmla="*/ 274551 h 337237"/>
                <a:gd name="connsiteX24" fmla="*/ 62687 w 338030"/>
                <a:gd name="connsiteY24" fmla="*/ 302324 h 337237"/>
                <a:gd name="connsiteX25" fmla="*/ 99981 w 338030"/>
                <a:gd name="connsiteY25" fmla="*/ 289628 h 337237"/>
                <a:gd name="connsiteX26" fmla="*/ 130928 w 338030"/>
                <a:gd name="connsiteY26" fmla="*/ 302324 h 337237"/>
                <a:gd name="connsiteX27" fmla="*/ 148385 w 338030"/>
                <a:gd name="connsiteY27" fmla="*/ 337238 h 337237"/>
                <a:gd name="connsiteX28" fmla="*/ 188060 w 338030"/>
                <a:gd name="connsiteY28" fmla="*/ 337238 h 337237"/>
                <a:gd name="connsiteX29" fmla="*/ 205517 w 338030"/>
                <a:gd name="connsiteY29" fmla="*/ 302324 h 337237"/>
                <a:gd name="connsiteX30" fmla="*/ 236463 w 338030"/>
                <a:gd name="connsiteY30" fmla="*/ 289628 h 337237"/>
                <a:gd name="connsiteX31" fmla="*/ 273758 w 338030"/>
                <a:gd name="connsiteY31" fmla="*/ 302324 h 337237"/>
                <a:gd name="connsiteX32" fmla="*/ 302324 w 338030"/>
                <a:gd name="connsiteY32" fmla="*/ 274551 h 337237"/>
                <a:gd name="connsiteX33" fmla="*/ 289628 w 338030"/>
                <a:gd name="connsiteY33" fmla="*/ 237257 h 337237"/>
                <a:gd name="connsiteX34" fmla="*/ 303117 w 338030"/>
                <a:gd name="connsiteY34" fmla="*/ 206310 h 337237"/>
                <a:gd name="connsiteX35" fmla="*/ 338031 w 338030"/>
                <a:gd name="connsiteY35" fmla="*/ 188853 h 337237"/>
                <a:gd name="connsiteX36" fmla="*/ 338031 w 338030"/>
                <a:gd name="connsiteY36" fmla="*/ 149178 h 337237"/>
                <a:gd name="connsiteX37" fmla="*/ 303117 w 338030"/>
                <a:gd name="connsiteY37" fmla="*/ 131721 h 33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38030" h="337237">
                  <a:moveTo>
                    <a:pt x="169016" y="228528"/>
                  </a:moveTo>
                  <a:cubicBezTo>
                    <a:pt x="135688" y="228528"/>
                    <a:pt x="109503" y="201549"/>
                    <a:pt x="109503" y="169016"/>
                  </a:cubicBezTo>
                  <a:cubicBezTo>
                    <a:pt x="109503" y="136482"/>
                    <a:pt x="136482" y="109503"/>
                    <a:pt x="169016" y="109503"/>
                  </a:cubicBezTo>
                  <a:cubicBezTo>
                    <a:pt x="202343" y="109503"/>
                    <a:pt x="228528" y="136482"/>
                    <a:pt x="228528" y="169016"/>
                  </a:cubicBezTo>
                  <a:cubicBezTo>
                    <a:pt x="228528" y="201549"/>
                    <a:pt x="201549" y="228528"/>
                    <a:pt x="169016" y="228528"/>
                  </a:cubicBezTo>
                  <a:close/>
                  <a:moveTo>
                    <a:pt x="303117" y="131721"/>
                  </a:moveTo>
                  <a:cubicBezTo>
                    <a:pt x="299943" y="120612"/>
                    <a:pt x="295976" y="110297"/>
                    <a:pt x="290421" y="100775"/>
                  </a:cubicBezTo>
                  <a:lnTo>
                    <a:pt x="303117" y="63480"/>
                  </a:lnTo>
                  <a:lnTo>
                    <a:pt x="274551" y="34914"/>
                  </a:lnTo>
                  <a:lnTo>
                    <a:pt x="237257" y="47610"/>
                  </a:lnTo>
                  <a:cubicBezTo>
                    <a:pt x="227734" y="42056"/>
                    <a:pt x="217419" y="38088"/>
                    <a:pt x="206310" y="34914"/>
                  </a:cubicBezTo>
                  <a:lnTo>
                    <a:pt x="188853" y="0"/>
                  </a:lnTo>
                  <a:lnTo>
                    <a:pt x="149178" y="0"/>
                  </a:lnTo>
                  <a:lnTo>
                    <a:pt x="131721" y="34914"/>
                  </a:lnTo>
                  <a:cubicBezTo>
                    <a:pt x="120612" y="38088"/>
                    <a:pt x="110297" y="42056"/>
                    <a:pt x="100775" y="47610"/>
                  </a:cubicBezTo>
                  <a:lnTo>
                    <a:pt x="63480" y="34914"/>
                  </a:lnTo>
                  <a:lnTo>
                    <a:pt x="34914" y="63480"/>
                  </a:lnTo>
                  <a:lnTo>
                    <a:pt x="47610" y="100775"/>
                  </a:lnTo>
                  <a:cubicBezTo>
                    <a:pt x="42055" y="110297"/>
                    <a:pt x="38088" y="120612"/>
                    <a:pt x="34914" y="131721"/>
                  </a:cubicBezTo>
                  <a:lnTo>
                    <a:pt x="0" y="149178"/>
                  </a:lnTo>
                  <a:lnTo>
                    <a:pt x="0" y="188853"/>
                  </a:lnTo>
                  <a:lnTo>
                    <a:pt x="34914" y="206310"/>
                  </a:lnTo>
                  <a:cubicBezTo>
                    <a:pt x="38088" y="217419"/>
                    <a:pt x="42055" y="227735"/>
                    <a:pt x="47610" y="237257"/>
                  </a:cubicBezTo>
                  <a:lnTo>
                    <a:pt x="34914" y="274551"/>
                  </a:lnTo>
                  <a:lnTo>
                    <a:pt x="62687" y="302324"/>
                  </a:lnTo>
                  <a:lnTo>
                    <a:pt x="99981" y="289628"/>
                  </a:lnTo>
                  <a:cubicBezTo>
                    <a:pt x="109503" y="295182"/>
                    <a:pt x="119818" y="299150"/>
                    <a:pt x="130928" y="302324"/>
                  </a:cubicBezTo>
                  <a:lnTo>
                    <a:pt x="148385" y="337238"/>
                  </a:lnTo>
                  <a:lnTo>
                    <a:pt x="188060" y="337238"/>
                  </a:lnTo>
                  <a:lnTo>
                    <a:pt x="205517" y="302324"/>
                  </a:lnTo>
                  <a:cubicBezTo>
                    <a:pt x="216626" y="299150"/>
                    <a:pt x="226941" y="295182"/>
                    <a:pt x="236463" y="289628"/>
                  </a:cubicBezTo>
                  <a:lnTo>
                    <a:pt x="273758" y="302324"/>
                  </a:lnTo>
                  <a:lnTo>
                    <a:pt x="302324" y="274551"/>
                  </a:lnTo>
                  <a:lnTo>
                    <a:pt x="289628" y="237257"/>
                  </a:lnTo>
                  <a:cubicBezTo>
                    <a:pt x="295182" y="227735"/>
                    <a:pt x="299943" y="216626"/>
                    <a:pt x="303117" y="206310"/>
                  </a:cubicBezTo>
                  <a:lnTo>
                    <a:pt x="338031" y="188853"/>
                  </a:lnTo>
                  <a:lnTo>
                    <a:pt x="338031" y="149178"/>
                  </a:lnTo>
                  <a:lnTo>
                    <a:pt x="303117" y="131721"/>
                  </a:lnTo>
                  <a:close/>
                </a:path>
              </a:pathLst>
            </a:custGeom>
            <a:grpFill/>
            <a:ln w="7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88" name="Grafika 8" descr="Koła zębate">
              <a:extLst>
                <a:ext uri="{FF2B5EF4-FFF2-40B4-BE49-F238E27FC236}">
                  <a16:creationId xmlns:a16="http://schemas.microsoft.com/office/drawing/2014/main" id="{B19D79AA-CAA6-17A6-8829-82B8C0D65D68}"/>
                </a:ext>
              </a:extLst>
            </p:cNvPr>
            <p:cNvSpPr/>
            <p:nvPr/>
          </p:nvSpPr>
          <p:spPr>
            <a:xfrm>
              <a:off x="5036588" y="4445812"/>
              <a:ext cx="338031" cy="337237"/>
            </a:xfrm>
            <a:custGeom>
              <a:avLst/>
              <a:gdLst>
                <a:gd name="connsiteX0" fmla="*/ 169016 w 338031"/>
                <a:gd name="connsiteY0" fmla="*/ 228528 h 337237"/>
                <a:gd name="connsiteX1" fmla="*/ 109503 w 338031"/>
                <a:gd name="connsiteY1" fmla="*/ 169015 h 337237"/>
                <a:gd name="connsiteX2" fmla="*/ 169016 w 338031"/>
                <a:gd name="connsiteY2" fmla="*/ 109503 h 337237"/>
                <a:gd name="connsiteX3" fmla="*/ 228528 w 338031"/>
                <a:gd name="connsiteY3" fmla="*/ 169015 h 337237"/>
                <a:gd name="connsiteX4" fmla="*/ 169016 w 338031"/>
                <a:gd name="connsiteY4" fmla="*/ 228528 h 337237"/>
                <a:gd name="connsiteX5" fmla="*/ 169016 w 338031"/>
                <a:gd name="connsiteY5" fmla="*/ 228528 h 337237"/>
                <a:gd name="connsiteX6" fmla="*/ 290421 w 338031"/>
                <a:gd name="connsiteY6" fmla="*/ 100774 h 337237"/>
                <a:gd name="connsiteX7" fmla="*/ 303117 w 338031"/>
                <a:gd name="connsiteY7" fmla="*/ 63480 h 337237"/>
                <a:gd name="connsiteX8" fmla="*/ 274551 w 338031"/>
                <a:gd name="connsiteY8" fmla="*/ 34914 h 337237"/>
                <a:gd name="connsiteX9" fmla="*/ 237257 w 338031"/>
                <a:gd name="connsiteY9" fmla="*/ 47610 h 337237"/>
                <a:gd name="connsiteX10" fmla="*/ 206310 w 338031"/>
                <a:gd name="connsiteY10" fmla="*/ 34914 h 337237"/>
                <a:gd name="connsiteX11" fmla="*/ 188853 w 338031"/>
                <a:gd name="connsiteY11" fmla="*/ 0 h 337237"/>
                <a:gd name="connsiteX12" fmla="*/ 149178 w 338031"/>
                <a:gd name="connsiteY12" fmla="*/ 0 h 337237"/>
                <a:gd name="connsiteX13" fmla="*/ 131721 w 338031"/>
                <a:gd name="connsiteY13" fmla="*/ 34914 h 337237"/>
                <a:gd name="connsiteX14" fmla="*/ 100775 w 338031"/>
                <a:gd name="connsiteY14" fmla="*/ 47610 h 337237"/>
                <a:gd name="connsiteX15" fmla="*/ 63480 w 338031"/>
                <a:gd name="connsiteY15" fmla="*/ 34914 h 337237"/>
                <a:gd name="connsiteX16" fmla="*/ 35708 w 338031"/>
                <a:gd name="connsiteY16" fmla="*/ 62686 h 337237"/>
                <a:gd name="connsiteX17" fmla="*/ 47610 w 338031"/>
                <a:gd name="connsiteY17" fmla="*/ 99981 h 337237"/>
                <a:gd name="connsiteX18" fmla="*/ 34914 w 338031"/>
                <a:gd name="connsiteY18" fmla="*/ 130928 h 337237"/>
                <a:gd name="connsiteX19" fmla="*/ 0 w 338031"/>
                <a:gd name="connsiteY19" fmla="*/ 148384 h 337237"/>
                <a:gd name="connsiteX20" fmla="*/ 0 w 338031"/>
                <a:gd name="connsiteY20" fmla="*/ 188059 h 337237"/>
                <a:gd name="connsiteX21" fmla="*/ 34914 w 338031"/>
                <a:gd name="connsiteY21" fmla="*/ 205517 h 337237"/>
                <a:gd name="connsiteX22" fmla="*/ 47610 w 338031"/>
                <a:gd name="connsiteY22" fmla="*/ 236463 h 337237"/>
                <a:gd name="connsiteX23" fmla="*/ 35708 w 338031"/>
                <a:gd name="connsiteY23" fmla="*/ 273758 h 337237"/>
                <a:gd name="connsiteX24" fmla="*/ 63480 w 338031"/>
                <a:gd name="connsiteY24" fmla="*/ 301530 h 337237"/>
                <a:gd name="connsiteX25" fmla="*/ 100775 w 338031"/>
                <a:gd name="connsiteY25" fmla="*/ 289628 h 337237"/>
                <a:gd name="connsiteX26" fmla="*/ 131721 w 338031"/>
                <a:gd name="connsiteY26" fmla="*/ 302324 h 337237"/>
                <a:gd name="connsiteX27" fmla="*/ 149178 w 338031"/>
                <a:gd name="connsiteY27" fmla="*/ 337238 h 337237"/>
                <a:gd name="connsiteX28" fmla="*/ 188853 w 338031"/>
                <a:gd name="connsiteY28" fmla="*/ 337238 h 337237"/>
                <a:gd name="connsiteX29" fmla="*/ 206310 w 338031"/>
                <a:gd name="connsiteY29" fmla="*/ 302324 h 337237"/>
                <a:gd name="connsiteX30" fmla="*/ 237257 w 338031"/>
                <a:gd name="connsiteY30" fmla="*/ 289628 h 337237"/>
                <a:gd name="connsiteX31" fmla="*/ 274551 w 338031"/>
                <a:gd name="connsiteY31" fmla="*/ 302324 h 337237"/>
                <a:gd name="connsiteX32" fmla="*/ 302324 w 338031"/>
                <a:gd name="connsiteY32" fmla="*/ 273758 h 337237"/>
                <a:gd name="connsiteX33" fmla="*/ 290421 w 338031"/>
                <a:gd name="connsiteY33" fmla="*/ 237257 h 337237"/>
                <a:gd name="connsiteX34" fmla="*/ 303117 w 338031"/>
                <a:gd name="connsiteY34" fmla="*/ 206310 h 337237"/>
                <a:gd name="connsiteX35" fmla="*/ 338031 w 338031"/>
                <a:gd name="connsiteY35" fmla="*/ 188853 h 337237"/>
                <a:gd name="connsiteX36" fmla="*/ 338031 w 338031"/>
                <a:gd name="connsiteY36" fmla="*/ 149178 h 337237"/>
                <a:gd name="connsiteX37" fmla="*/ 303117 w 338031"/>
                <a:gd name="connsiteY37" fmla="*/ 131721 h 337237"/>
                <a:gd name="connsiteX38" fmla="*/ 290421 w 338031"/>
                <a:gd name="connsiteY38" fmla="*/ 100774 h 337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38031" h="337237">
                  <a:moveTo>
                    <a:pt x="169016" y="228528"/>
                  </a:moveTo>
                  <a:cubicBezTo>
                    <a:pt x="135689" y="228528"/>
                    <a:pt x="109503" y="201549"/>
                    <a:pt x="109503" y="169015"/>
                  </a:cubicBezTo>
                  <a:cubicBezTo>
                    <a:pt x="109503" y="135688"/>
                    <a:pt x="136482" y="109503"/>
                    <a:pt x="169016" y="109503"/>
                  </a:cubicBezTo>
                  <a:cubicBezTo>
                    <a:pt x="202343" y="109503"/>
                    <a:pt x="228528" y="136482"/>
                    <a:pt x="228528" y="169015"/>
                  </a:cubicBezTo>
                  <a:cubicBezTo>
                    <a:pt x="228528" y="201549"/>
                    <a:pt x="202343" y="228528"/>
                    <a:pt x="169016" y="228528"/>
                  </a:cubicBezTo>
                  <a:lnTo>
                    <a:pt x="169016" y="228528"/>
                  </a:lnTo>
                  <a:close/>
                  <a:moveTo>
                    <a:pt x="290421" y="100774"/>
                  </a:moveTo>
                  <a:lnTo>
                    <a:pt x="303117" y="63480"/>
                  </a:lnTo>
                  <a:lnTo>
                    <a:pt x="274551" y="34914"/>
                  </a:lnTo>
                  <a:lnTo>
                    <a:pt x="237257" y="47610"/>
                  </a:lnTo>
                  <a:cubicBezTo>
                    <a:pt x="227734" y="42055"/>
                    <a:pt x="216626" y="38088"/>
                    <a:pt x="206310" y="34914"/>
                  </a:cubicBezTo>
                  <a:lnTo>
                    <a:pt x="188853" y="0"/>
                  </a:lnTo>
                  <a:lnTo>
                    <a:pt x="149178" y="0"/>
                  </a:lnTo>
                  <a:lnTo>
                    <a:pt x="131721" y="34914"/>
                  </a:lnTo>
                  <a:cubicBezTo>
                    <a:pt x="120612" y="38088"/>
                    <a:pt x="110297" y="42055"/>
                    <a:pt x="100775" y="47610"/>
                  </a:cubicBezTo>
                  <a:lnTo>
                    <a:pt x="63480" y="34914"/>
                  </a:lnTo>
                  <a:lnTo>
                    <a:pt x="35708" y="62686"/>
                  </a:lnTo>
                  <a:lnTo>
                    <a:pt x="47610" y="99981"/>
                  </a:lnTo>
                  <a:cubicBezTo>
                    <a:pt x="42056" y="109503"/>
                    <a:pt x="38088" y="120612"/>
                    <a:pt x="34914" y="130928"/>
                  </a:cubicBezTo>
                  <a:lnTo>
                    <a:pt x="0" y="148384"/>
                  </a:lnTo>
                  <a:lnTo>
                    <a:pt x="0" y="188059"/>
                  </a:lnTo>
                  <a:lnTo>
                    <a:pt x="34914" y="205517"/>
                  </a:lnTo>
                  <a:cubicBezTo>
                    <a:pt x="38088" y="216625"/>
                    <a:pt x="42056" y="226941"/>
                    <a:pt x="47610" y="236463"/>
                  </a:cubicBezTo>
                  <a:lnTo>
                    <a:pt x="35708" y="273758"/>
                  </a:lnTo>
                  <a:lnTo>
                    <a:pt x="63480" y="301530"/>
                  </a:lnTo>
                  <a:lnTo>
                    <a:pt x="100775" y="289628"/>
                  </a:lnTo>
                  <a:cubicBezTo>
                    <a:pt x="110297" y="295182"/>
                    <a:pt x="120612" y="299149"/>
                    <a:pt x="131721" y="302324"/>
                  </a:cubicBezTo>
                  <a:lnTo>
                    <a:pt x="149178" y="337238"/>
                  </a:lnTo>
                  <a:lnTo>
                    <a:pt x="188853" y="337238"/>
                  </a:lnTo>
                  <a:lnTo>
                    <a:pt x="206310" y="302324"/>
                  </a:lnTo>
                  <a:cubicBezTo>
                    <a:pt x="217419" y="299149"/>
                    <a:pt x="227734" y="295182"/>
                    <a:pt x="237257" y="289628"/>
                  </a:cubicBezTo>
                  <a:lnTo>
                    <a:pt x="274551" y="302324"/>
                  </a:lnTo>
                  <a:lnTo>
                    <a:pt x="302324" y="273758"/>
                  </a:lnTo>
                  <a:lnTo>
                    <a:pt x="290421" y="237257"/>
                  </a:lnTo>
                  <a:cubicBezTo>
                    <a:pt x="295976" y="227734"/>
                    <a:pt x="299943" y="217419"/>
                    <a:pt x="303117" y="206310"/>
                  </a:cubicBezTo>
                  <a:lnTo>
                    <a:pt x="338031" y="188853"/>
                  </a:lnTo>
                  <a:lnTo>
                    <a:pt x="338031" y="149178"/>
                  </a:lnTo>
                  <a:lnTo>
                    <a:pt x="303117" y="131721"/>
                  </a:lnTo>
                  <a:cubicBezTo>
                    <a:pt x="299943" y="120612"/>
                    <a:pt x="295976" y="110296"/>
                    <a:pt x="290421" y="100774"/>
                  </a:cubicBezTo>
                  <a:close/>
                </a:path>
              </a:pathLst>
            </a:custGeom>
            <a:grpFill/>
            <a:ln w="78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pic>
        <p:nvPicPr>
          <p:cNvPr id="90" name="Picture 3">
            <a:extLst>
              <a:ext uri="{FF2B5EF4-FFF2-40B4-BE49-F238E27FC236}">
                <a16:creationId xmlns:a16="http://schemas.microsoft.com/office/drawing/2014/main" id="{917CA5E8-E2BE-8FCB-0BAD-97D076A1F04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 contrast="7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597" y="5454255"/>
            <a:ext cx="681046" cy="681046"/>
          </a:xfrm>
          <a:prstGeom prst="rect">
            <a:avLst/>
          </a:prstGeom>
        </p:spPr>
      </p:pic>
      <p:pic>
        <p:nvPicPr>
          <p:cNvPr id="98" name="Obraz 97">
            <a:extLst>
              <a:ext uri="{FF2B5EF4-FFF2-40B4-BE49-F238E27FC236}">
                <a16:creationId xmlns:a16="http://schemas.microsoft.com/office/drawing/2014/main" id="{B16D5AD4-E16C-4C12-3F28-87BE1A57C3E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2019" y="6641999"/>
            <a:ext cx="737574" cy="740411"/>
          </a:xfrm>
          <a:prstGeom prst="rect">
            <a:avLst/>
          </a:prstGeom>
        </p:spPr>
      </p:pic>
      <p:grpSp>
        <p:nvGrpSpPr>
          <p:cNvPr id="99" name="Grupa 98">
            <a:extLst>
              <a:ext uri="{FF2B5EF4-FFF2-40B4-BE49-F238E27FC236}">
                <a16:creationId xmlns:a16="http://schemas.microsoft.com/office/drawing/2014/main" id="{CB939701-E5B5-AC6B-73DB-98450A0953D0}"/>
              </a:ext>
            </a:extLst>
          </p:cNvPr>
          <p:cNvGrpSpPr/>
          <p:nvPr/>
        </p:nvGrpSpPr>
        <p:grpSpPr>
          <a:xfrm>
            <a:off x="7303709" y="3086745"/>
            <a:ext cx="423775" cy="540380"/>
            <a:chOff x="4511959" y="4748591"/>
            <a:chExt cx="293491" cy="374248"/>
          </a:xfrm>
        </p:grpSpPr>
        <p:sp>
          <p:nvSpPr>
            <p:cNvPr id="100" name="Google Shape;411;p20">
              <a:extLst>
                <a:ext uri="{FF2B5EF4-FFF2-40B4-BE49-F238E27FC236}">
                  <a16:creationId xmlns:a16="http://schemas.microsoft.com/office/drawing/2014/main" id="{036314CB-F147-9755-B096-B5A3A6B4D015}"/>
                </a:ext>
              </a:extLst>
            </p:cNvPr>
            <p:cNvSpPr/>
            <p:nvPr/>
          </p:nvSpPr>
          <p:spPr>
            <a:xfrm>
              <a:off x="4511959" y="4748591"/>
              <a:ext cx="293491" cy="374248"/>
            </a:xfrm>
            <a:custGeom>
              <a:avLst/>
              <a:gdLst/>
              <a:ahLst/>
              <a:cxnLst/>
              <a:rect l="l" t="t" r="r" b="b"/>
              <a:pathLst>
                <a:path w="8395" h="10705" extrusionOk="0">
                  <a:moveTo>
                    <a:pt x="4204" y="1"/>
                  </a:moveTo>
                  <a:cubicBezTo>
                    <a:pt x="1882" y="1"/>
                    <a:pt x="1" y="1882"/>
                    <a:pt x="1" y="4192"/>
                  </a:cubicBezTo>
                  <a:cubicBezTo>
                    <a:pt x="1" y="6514"/>
                    <a:pt x="4204" y="10705"/>
                    <a:pt x="4204" y="10705"/>
                  </a:cubicBezTo>
                  <a:cubicBezTo>
                    <a:pt x="4204" y="10705"/>
                    <a:pt x="8395" y="6514"/>
                    <a:pt x="8395" y="4192"/>
                  </a:cubicBezTo>
                  <a:cubicBezTo>
                    <a:pt x="8395" y="1882"/>
                    <a:pt x="6513" y="1"/>
                    <a:pt x="4204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01" name="Google Shape;412;p20">
              <a:extLst>
                <a:ext uri="{FF2B5EF4-FFF2-40B4-BE49-F238E27FC236}">
                  <a16:creationId xmlns:a16="http://schemas.microsoft.com/office/drawing/2014/main" id="{B682E537-B6A1-A443-27E8-357FC8C1A2BB}"/>
                </a:ext>
              </a:extLst>
            </p:cNvPr>
            <p:cNvSpPr/>
            <p:nvPr/>
          </p:nvSpPr>
          <p:spPr>
            <a:xfrm>
              <a:off x="4592529" y="4823890"/>
              <a:ext cx="132380" cy="132340"/>
            </a:xfrm>
            <a:custGeom>
              <a:avLst/>
              <a:gdLst/>
              <a:ahLst/>
              <a:cxnLst/>
              <a:rect l="l" t="t" r="r" b="b"/>
              <a:pathLst>
                <a:path w="3359" h="3358" extrusionOk="0">
                  <a:moveTo>
                    <a:pt x="1680" y="0"/>
                  </a:moveTo>
                  <a:cubicBezTo>
                    <a:pt x="751" y="0"/>
                    <a:pt x="1" y="750"/>
                    <a:pt x="1" y="1679"/>
                  </a:cubicBezTo>
                  <a:cubicBezTo>
                    <a:pt x="1" y="2608"/>
                    <a:pt x="751" y="3358"/>
                    <a:pt x="1680" y="3358"/>
                  </a:cubicBezTo>
                  <a:cubicBezTo>
                    <a:pt x="2608" y="3358"/>
                    <a:pt x="3358" y="2608"/>
                    <a:pt x="3358" y="1679"/>
                  </a:cubicBezTo>
                  <a:cubicBezTo>
                    <a:pt x="3358" y="750"/>
                    <a:pt x="2608" y="0"/>
                    <a:pt x="1680" y="0"/>
                  </a:cubicBezTo>
                  <a:close/>
                </a:path>
              </a:pathLst>
            </a:custGeom>
            <a:solidFill>
              <a:srgbClr val="77777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2" name="Grupa 101">
            <a:extLst>
              <a:ext uri="{FF2B5EF4-FFF2-40B4-BE49-F238E27FC236}">
                <a16:creationId xmlns:a16="http://schemas.microsoft.com/office/drawing/2014/main" id="{079B6EC4-4AAD-3F89-F254-40D20A024F8E}"/>
              </a:ext>
            </a:extLst>
          </p:cNvPr>
          <p:cNvGrpSpPr/>
          <p:nvPr/>
        </p:nvGrpSpPr>
        <p:grpSpPr>
          <a:xfrm>
            <a:off x="2521448" y="5165781"/>
            <a:ext cx="1372805" cy="404911"/>
            <a:chOff x="709561" y="2575474"/>
            <a:chExt cx="1848341" cy="545171"/>
          </a:xfrm>
        </p:grpSpPr>
        <p:sp>
          <p:nvSpPr>
            <p:cNvPr id="103" name="object 3">
              <a:extLst>
                <a:ext uri="{FF2B5EF4-FFF2-40B4-BE49-F238E27FC236}">
                  <a16:creationId xmlns:a16="http://schemas.microsoft.com/office/drawing/2014/main" id="{D23B2982-D6FB-B8AA-0EB0-E805B8F63EE5}"/>
                </a:ext>
              </a:extLst>
            </p:cNvPr>
            <p:cNvSpPr/>
            <p:nvPr/>
          </p:nvSpPr>
          <p:spPr>
            <a:xfrm>
              <a:off x="1355163" y="2762918"/>
              <a:ext cx="1202739" cy="169924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4" name="object 4">
              <a:extLst>
                <a:ext uri="{FF2B5EF4-FFF2-40B4-BE49-F238E27FC236}">
                  <a16:creationId xmlns:a16="http://schemas.microsoft.com/office/drawing/2014/main" id="{9B681208-EEBE-E1B2-F98C-38E12F07E7A6}"/>
                </a:ext>
              </a:extLst>
            </p:cNvPr>
            <p:cNvSpPr/>
            <p:nvPr/>
          </p:nvSpPr>
          <p:spPr>
            <a:xfrm>
              <a:off x="709561" y="2575474"/>
              <a:ext cx="560633" cy="545171"/>
            </a:xfrm>
            <a:custGeom>
              <a:avLst/>
              <a:gdLst/>
              <a:ahLst/>
              <a:cxnLst/>
              <a:rect l="l" t="t" r="r" b="b"/>
              <a:pathLst>
                <a:path w="529590" h="514984">
                  <a:moveTo>
                    <a:pt x="472008" y="200774"/>
                  </a:moveTo>
                  <a:lnTo>
                    <a:pt x="271957" y="400824"/>
                  </a:lnTo>
                  <a:lnTo>
                    <a:pt x="271957" y="514870"/>
                  </a:lnTo>
                  <a:lnTo>
                    <a:pt x="529031" y="257797"/>
                  </a:lnTo>
                  <a:lnTo>
                    <a:pt x="472008" y="200774"/>
                  </a:lnTo>
                  <a:close/>
                </a:path>
                <a:path w="529590" h="514984">
                  <a:moveTo>
                    <a:pt x="405409" y="133451"/>
                  </a:moveTo>
                  <a:lnTo>
                    <a:pt x="271957" y="266903"/>
                  </a:lnTo>
                  <a:lnTo>
                    <a:pt x="271957" y="380949"/>
                  </a:lnTo>
                  <a:lnTo>
                    <a:pt x="462419" y="190474"/>
                  </a:lnTo>
                  <a:lnTo>
                    <a:pt x="405409" y="133451"/>
                  </a:lnTo>
                  <a:close/>
                </a:path>
                <a:path w="529590" h="514984">
                  <a:moveTo>
                    <a:pt x="338442" y="66497"/>
                  </a:moveTo>
                  <a:lnTo>
                    <a:pt x="271957" y="132981"/>
                  </a:lnTo>
                  <a:lnTo>
                    <a:pt x="271957" y="247027"/>
                  </a:lnTo>
                  <a:lnTo>
                    <a:pt x="395465" y="123507"/>
                  </a:lnTo>
                  <a:lnTo>
                    <a:pt x="338442" y="66497"/>
                  </a:lnTo>
                  <a:close/>
                </a:path>
                <a:path w="529590" h="514984">
                  <a:moveTo>
                    <a:pt x="271957" y="0"/>
                  </a:moveTo>
                  <a:lnTo>
                    <a:pt x="271957" y="113093"/>
                  </a:lnTo>
                  <a:lnTo>
                    <a:pt x="328498" y="56553"/>
                  </a:lnTo>
                  <a:lnTo>
                    <a:pt x="271957" y="0"/>
                  </a:lnTo>
                  <a:close/>
                </a:path>
                <a:path w="529590" h="514984">
                  <a:moveTo>
                    <a:pt x="57023" y="200774"/>
                  </a:moveTo>
                  <a:lnTo>
                    <a:pt x="0" y="257797"/>
                  </a:lnTo>
                  <a:lnTo>
                    <a:pt x="257073" y="514870"/>
                  </a:lnTo>
                  <a:lnTo>
                    <a:pt x="257073" y="400824"/>
                  </a:lnTo>
                  <a:lnTo>
                    <a:pt x="57023" y="200774"/>
                  </a:lnTo>
                  <a:close/>
                </a:path>
                <a:path w="529590" h="514984">
                  <a:moveTo>
                    <a:pt x="123621" y="133451"/>
                  </a:moveTo>
                  <a:lnTo>
                    <a:pt x="66598" y="190474"/>
                  </a:lnTo>
                  <a:lnTo>
                    <a:pt x="257073" y="380949"/>
                  </a:lnTo>
                  <a:lnTo>
                    <a:pt x="257073" y="266903"/>
                  </a:lnTo>
                  <a:lnTo>
                    <a:pt x="123621" y="133451"/>
                  </a:lnTo>
                  <a:close/>
                </a:path>
                <a:path w="529590" h="514984">
                  <a:moveTo>
                    <a:pt x="190576" y="66497"/>
                  </a:moveTo>
                  <a:lnTo>
                    <a:pt x="133565" y="123507"/>
                  </a:lnTo>
                  <a:lnTo>
                    <a:pt x="257073" y="247027"/>
                  </a:lnTo>
                  <a:lnTo>
                    <a:pt x="257073" y="132981"/>
                  </a:lnTo>
                  <a:lnTo>
                    <a:pt x="190576" y="66497"/>
                  </a:lnTo>
                  <a:close/>
                </a:path>
                <a:path w="529590" h="514984">
                  <a:moveTo>
                    <a:pt x="257073" y="0"/>
                  </a:moveTo>
                  <a:lnTo>
                    <a:pt x="200520" y="56553"/>
                  </a:lnTo>
                  <a:lnTo>
                    <a:pt x="257073" y="113093"/>
                  </a:lnTo>
                  <a:lnTo>
                    <a:pt x="257073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pic>
        <p:nvPicPr>
          <p:cNvPr id="105" name="Obraz 104">
            <a:extLst>
              <a:ext uri="{FF2B5EF4-FFF2-40B4-BE49-F238E27FC236}">
                <a16:creationId xmlns:a16="http://schemas.microsoft.com/office/drawing/2014/main" id="{D22363EC-0F06-B8DC-68F8-67D8CEE2D88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511" y="5819862"/>
            <a:ext cx="1339763" cy="327438"/>
          </a:xfrm>
          <a:prstGeom prst="rect">
            <a:avLst/>
          </a:prstGeom>
        </p:spPr>
      </p:pic>
      <p:pic>
        <p:nvPicPr>
          <p:cNvPr id="106" name="Obraz 105">
            <a:extLst>
              <a:ext uri="{FF2B5EF4-FFF2-40B4-BE49-F238E27FC236}">
                <a16:creationId xmlns:a16="http://schemas.microsoft.com/office/drawing/2014/main" id="{38684E74-7075-3B7F-4203-1A86E6C466E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830" y="7117639"/>
            <a:ext cx="1238095" cy="327438"/>
          </a:xfrm>
          <a:prstGeom prst="rect">
            <a:avLst/>
          </a:prstGeom>
        </p:spPr>
      </p:pic>
      <p:pic>
        <p:nvPicPr>
          <p:cNvPr id="107" name="Obraz 106">
            <a:extLst>
              <a:ext uri="{FF2B5EF4-FFF2-40B4-BE49-F238E27FC236}">
                <a16:creationId xmlns:a16="http://schemas.microsoft.com/office/drawing/2014/main" id="{CC625FB7-71F3-87F0-D35C-8A3E1C8773E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20" y="5113615"/>
            <a:ext cx="1442472" cy="431350"/>
          </a:xfrm>
          <a:prstGeom prst="rect">
            <a:avLst/>
          </a:prstGeom>
        </p:spPr>
      </p:pic>
      <p:pic>
        <p:nvPicPr>
          <p:cNvPr id="108" name="Obraz 107">
            <a:extLst>
              <a:ext uri="{FF2B5EF4-FFF2-40B4-BE49-F238E27FC236}">
                <a16:creationId xmlns:a16="http://schemas.microsoft.com/office/drawing/2014/main" id="{850E50AF-718D-C881-40F8-F55008FCA162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7694" y="7265643"/>
            <a:ext cx="1310155" cy="206057"/>
          </a:xfrm>
          <a:prstGeom prst="rect">
            <a:avLst/>
          </a:prstGeom>
        </p:spPr>
      </p:pic>
      <p:grpSp>
        <p:nvGrpSpPr>
          <p:cNvPr id="109" name="Grupa 108">
            <a:extLst>
              <a:ext uri="{FF2B5EF4-FFF2-40B4-BE49-F238E27FC236}">
                <a16:creationId xmlns:a16="http://schemas.microsoft.com/office/drawing/2014/main" id="{F4619F6C-B566-834E-8FD3-CAA9A302F83B}"/>
              </a:ext>
            </a:extLst>
          </p:cNvPr>
          <p:cNvGrpSpPr/>
          <p:nvPr/>
        </p:nvGrpSpPr>
        <p:grpSpPr>
          <a:xfrm>
            <a:off x="762124" y="6441414"/>
            <a:ext cx="1319596" cy="383479"/>
            <a:chOff x="2080787" y="8092818"/>
            <a:chExt cx="930540" cy="270418"/>
          </a:xfrm>
        </p:grpSpPr>
        <p:sp>
          <p:nvSpPr>
            <p:cNvPr id="110" name="object 6">
              <a:extLst>
                <a:ext uri="{FF2B5EF4-FFF2-40B4-BE49-F238E27FC236}">
                  <a16:creationId xmlns:a16="http://schemas.microsoft.com/office/drawing/2014/main" id="{43B88EBC-EE3E-FC68-B6B0-4F7C15AC1BC4}"/>
                </a:ext>
              </a:extLst>
            </p:cNvPr>
            <p:cNvSpPr/>
            <p:nvPr/>
          </p:nvSpPr>
          <p:spPr>
            <a:xfrm>
              <a:off x="2403657" y="8132854"/>
              <a:ext cx="607670" cy="185565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7">
              <a:extLst>
                <a:ext uri="{FF2B5EF4-FFF2-40B4-BE49-F238E27FC236}">
                  <a16:creationId xmlns:a16="http://schemas.microsoft.com/office/drawing/2014/main" id="{97DE4A04-20CB-BB49-E118-A72C87498D7F}"/>
                </a:ext>
              </a:extLst>
            </p:cNvPr>
            <p:cNvSpPr/>
            <p:nvPr/>
          </p:nvSpPr>
          <p:spPr>
            <a:xfrm>
              <a:off x="2292675" y="8169485"/>
              <a:ext cx="58520" cy="117052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8">
              <a:extLst>
                <a:ext uri="{FF2B5EF4-FFF2-40B4-BE49-F238E27FC236}">
                  <a16:creationId xmlns:a16="http://schemas.microsoft.com/office/drawing/2014/main" id="{3C8FE858-31AD-AD41-1BA0-2C3182750F33}"/>
                </a:ext>
              </a:extLst>
            </p:cNvPr>
            <p:cNvSpPr/>
            <p:nvPr/>
          </p:nvSpPr>
          <p:spPr>
            <a:xfrm>
              <a:off x="2157444" y="8092818"/>
              <a:ext cx="117072" cy="58531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9">
              <a:extLst>
                <a:ext uri="{FF2B5EF4-FFF2-40B4-BE49-F238E27FC236}">
                  <a16:creationId xmlns:a16="http://schemas.microsoft.com/office/drawing/2014/main" id="{C00A87ED-E86C-978C-AD5E-479FE25B4B1B}"/>
                </a:ext>
              </a:extLst>
            </p:cNvPr>
            <p:cNvSpPr/>
            <p:nvPr/>
          </p:nvSpPr>
          <p:spPr>
            <a:xfrm>
              <a:off x="2080787" y="8169468"/>
              <a:ext cx="58551" cy="117072"/>
            </a:xfrm>
            <a:prstGeom prst="rect">
              <a:avLst/>
            </a:prstGeom>
            <a:blipFill>
              <a:blip r:embed="rId2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0">
              <a:extLst>
                <a:ext uri="{FF2B5EF4-FFF2-40B4-BE49-F238E27FC236}">
                  <a16:creationId xmlns:a16="http://schemas.microsoft.com/office/drawing/2014/main" id="{507CA8D3-0058-2C41-9232-F165E06B958A}"/>
                </a:ext>
              </a:extLst>
            </p:cNvPr>
            <p:cNvSpPr/>
            <p:nvPr/>
          </p:nvSpPr>
          <p:spPr>
            <a:xfrm>
              <a:off x="2157457" y="8304675"/>
              <a:ext cx="117082" cy="58561"/>
            </a:xfrm>
            <a:prstGeom prst="rect">
              <a:avLst/>
            </a:prstGeom>
            <a:blipFill>
              <a:blip r:embed="rId2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">
              <a:extLst>
                <a:ext uri="{FF2B5EF4-FFF2-40B4-BE49-F238E27FC236}">
                  <a16:creationId xmlns:a16="http://schemas.microsoft.com/office/drawing/2014/main" id="{CB474BEB-3669-567B-08BF-754511BD19CA}"/>
                </a:ext>
              </a:extLst>
            </p:cNvPr>
            <p:cNvSpPr/>
            <p:nvPr/>
          </p:nvSpPr>
          <p:spPr>
            <a:xfrm>
              <a:off x="2161364" y="8196624"/>
              <a:ext cx="108066" cy="60279"/>
            </a:xfrm>
            <a:prstGeom prst="rect">
              <a:avLst/>
            </a:prstGeom>
            <a:blipFill>
              <a:blip r:embed="rId2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6" name="Grupa 115">
            <a:extLst>
              <a:ext uri="{FF2B5EF4-FFF2-40B4-BE49-F238E27FC236}">
                <a16:creationId xmlns:a16="http://schemas.microsoft.com/office/drawing/2014/main" id="{2551877E-4D34-1159-2C2C-A053B4DDCBFD}"/>
              </a:ext>
            </a:extLst>
          </p:cNvPr>
          <p:cNvGrpSpPr/>
          <p:nvPr/>
        </p:nvGrpSpPr>
        <p:grpSpPr>
          <a:xfrm>
            <a:off x="2542282" y="6541532"/>
            <a:ext cx="1360708" cy="274854"/>
            <a:chOff x="3389480" y="8121214"/>
            <a:chExt cx="910396" cy="183894"/>
          </a:xfrm>
        </p:grpSpPr>
        <p:sp>
          <p:nvSpPr>
            <p:cNvPr id="117" name="object 30">
              <a:extLst>
                <a:ext uri="{FF2B5EF4-FFF2-40B4-BE49-F238E27FC236}">
                  <a16:creationId xmlns:a16="http://schemas.microsoft.com/office/drawing/2014/main" id="{0D8D0EB1-4189-8CC4-C14A-B94FA1C87EE9}"/>
                </a:ext>
              </a:extLst>
            </p:cNvPr>
            <p:cNvSpPr/>
            <p:nvPr/>
          </p:nvSpPr>
          <p:spPr>
            <a:xfrm>
              <a:off x="3673518" y="8186159"/>
              <a:ext cx="626358" cy="91947"/>
            </a:xfrm>
            <a:custGeom>
              <a:avLst/>
              <a:gdLst/>
              <a:ahLst/>
              <a:cxnLst/>
              <a:rect l="l" t="t" r="r" b="b"/>
              <a:pathLst>
                <a:path w="782954" h="114934">
                  <a:moveTo>
                    <a:pt x="733882" y="94983"/>
                  </a:moveTo>
                  <a:lnTo>
                    <a:pt x="733005" y="110515"/>
                  </a:lnTo>
                  <a:lnTo>
                    <a:pt x="736853" y="112026"/>
                  </a:lnTo>
                  <a:lnTo>
                    <a:pt x="744702" y="114312"/>
                  </a:lnTo>
                  <a:lnTo>
                    <a:pt x="754176" y="114312"/>
                  </a:lnTo>
                  <a:lnTo>
                    <a:pt x="765615" y="112741"/>
                  </a:lnTo>
                  <a:lnTo>
                    <a:pt x="774607" y="108210"/>
                  </a:lnTo>
                  <a:lnTo>
                    <a:pt x="780490" y="100993"/>
                  </a:lnTo>
                  <a:lnTo>
                    <a:pt x="780683" y="100114"/>
                  </a:lnTo>
                  <a:lnTo>
                    <a:pt x="744397" y="100114"/>
                  </a:lnTo>
                  <a:lnTo>
                    <a:pt x="736853" y="96189"/>
                  </a:lnTo>
                  <a:lnTo>
                    <a:pt x="733882" y="94983"/>
                  </a:lnTo>
                  <a:close/>
                </a:path>
                <a:path w="782954" h="114934">
                  <a:moveTo>
                    <a:pt x="769124" y="34226"/>
                  </a:moveTo>
                  <a:lnTo>
                    <a:pt x="759358" y="34226"/>
                  </a:lnTo>
                  <a:lnTo>
                    <a:pt x="748431" y="36159"/>
                  </a:lnTo>
                  <a:lnTo>
                    <a:pt x="740129" y="41216"/>
                  </a:lnTo>
                  <a:lnTo>
                    <a:pt x="734853" y="48280"/>
                  </a:lnTo>
                  <a:lnTo>
                    <a:pt x="733005" y="56235"/>
                  </a:lnTo>
                  <a:lnTo>
                    <a:pt x="734443" y="64142"/>
                  </a:lnTo>
                  <a:lnTo>
                    <a:pt x="763358" y="86537"/>
                  </a:lnTo>
                  <a:lnTo>
                    <a:pt x="764832" y="89407"/>
                  </a:lnTo>
                  <a:lnTo>
                    <a:pt x="764832" y="98450"/>
                  </a:lnTo>
                  <a:lnTo>
                    <a:pt x="759663" y="100114"/>
                  </a:lnTo>
                  <a:lnTo>
                    <a:pt x="780683" y="100114"/>
                  </a:lnTo>
                  <a:lnTo>
                    <a:pt x="782599" y="91363"/>
                  </a:lnTo>
                  <a:lnTo>
                    <a:pt x="782599" y="82321"/>
                  </a:lnTo>
                  <a:lnTo>
                    <a:pt x="777874" y="77952"/>
                  </a:lnTo>
                  <a:lnTo>
                    <a:pt x="754024" y="62420"/>
                  </a:lnTo>
                  <a:lnTo>
                    <a:pt x="750760" y="60159"/>
                  </a:lnTo>
                  <a:lnTo>
                    <a:pt x="750760" y="51257"/>
                  </a:lnTo>
                  <a:lnTo>
                    <a:pt x="753871" y="48399"/>
                  </a:lnTo>
                  <a:lnTo>
                    <a:pt x="777667" y="48399"/>
                  </a:lnTo>
                  <a:lnTo>
                    <a:pt x="778459" y="37388"/>
                  </a:lnTo>
                  <a:lnTo>
                    <a:pt x="769124" y="34226"/>
                  </a:lnTo>
                  <a:close/>
                </a:path>
                <a:path w="782954" h="114934">
                  <a:moveTo>
                    <a:pt x="777667" y="48399"/>
                  </a:moveTo>
                  <a:lnTo>
                    <a:pt x="767943" y="48399"/>
                  </a:lnTo>
                  <a:lnTo>
                    <a:pt x="772833" y="50050"/>
                  </a:lnTo>
                  <a:lnTo>
                    <a:pt x="777417" y="51866"/>
                  </a:lnTo>
                  <a:lnTo>
                    <a:pt x="777667" y="48399"/>
                  </a:lnTo>
                  <a:close/>
                </a:path>
                <a:path w="782954" h="114934">
                  <a:moveTo>
                    <a:pt x="690473" y="34226"/>
                  </a:moveTo>
                  <a:lnTo>
                    <a:pt x="677386" y="37393"/>
                  </a:lnTo>
                  <a:lnTo>
                    <a:pt x="667504" y="46100"/>
                  </a:lnTo>
                  <a:lnTo>
                    <a:pt x="661257" y="59161"/>
                  </a:lnTo>
                  <a:lnTo>
                    <a:pt x="659079" y="75387"/>
                  </a:lnTo>
                  <a:lnTo>
                    <a:pt x="661128" y="90309"/>
                  </a:lnTo>
                  <a:lnTo>
                    <a:pt x="667480" y="102708"/>
                  </a:lnTo>
                  <a:lnTo>
                    <a:pt x="678442" y="111177"/>
                  </a:lnTo>
                  <a:lnTo>
                    <a:pt x="694321" y="114312"/>
                  </a:lnTo>
                  <a:lnTo>
                    <a:pt x="705281" y="114312"/>
                  </a:lnTo>
                  <a:lnTo>
                    <a:pt x="717118" y="109321"/>
                  </a:lnTo>
                  <a:lnTo>
                    <a:pt x="716591" y="100558"/>
                  </a:lnTo>
                  <a:lnTo>
                    <a:pt x="696252" y="100558"/>
                  </a:lnTo>
                  <a:lnTo>
                    <a:pt x="687219" y="99103"/>
                  </a:lnTo>
                  <a:lnTo>
                    <a:pt x="681215" y="94905"/>
                  </a:lnTo>
                  <a:lnTo>
                    <a:pt x="677878" y="88219"/>
                  </a:lnTo>
                  <a:lnTo>
                    <a:pt x="676846" y="79298"/>
                  </a:lnTo>
                  <a:lnTo>
                    <a:pt x="720978" y="79298"/>
                  </a:lnTo>
                  <a:lnTo>
                    <a:pt x="720941" y="75387"/>
                  </a:lnTo>
                  <a:lnTo>
                    <a:pt x="719969" y="67538"/>
                  </a:lnTo>
                  <a:lnTo>
                    <a:pt x="676846" y="67538"/>
                  </a:lnTo>
                  <a:lnTo>
                    <a:pt x="676846" y="57289"/>
                  </a:lnTo>
                  <a:lnTo>
                    <a:pt x="680834" y="46888"/>
                  </a:lnTo>
                  <a:lnTo>
                    <a:pt x="713866" y="46888"/>
                  </a:lnTo>
                  <a:lnTo>
                    <a:pt x="711888" y="43081"/>
                  </a:lnTo>
                  <a:lnTo>
                    <a:pt x="702173" y="36251"/>
                  </a:lnTo>
                  <a:lnTo>
                    <a:pt x="690473" y="34226"/>
                  </a:lnTo>
                  <a:close/>
                </a:path>
                <a:path w="782954" h="114934">
                  <a:moveTo>
                    <a:pt x="716229" y="94538"/>
                  </a:moveTo>
                  <a:lnTo>
                    <a:pt x="712825" y="97091"/>
                  </a:lnTo>
                  <a:lnTo>
                    <a:pt x="707491" y="100558"/>
                  </a:lnTo>
                  <a:lnTo>
                    <a:pt x="716591" y="100558"/>
                  </a:lnTo>
                  <a:lnTo>
                    <a:pt x="716229" y="94538"/>
                  </a:lnTo>
                  <a:close/>
                </a:path>
                <a:path w="782954" h="114934">
                  <a:moveTo>
                    <a:pt x="713866" y="46888"/>
                  </a:moveTo>
                  <a:lnTo>
                    <a:pt x="698753" y="46888"/>
                  </a:lnTo>
                  <a:lnTo>
                    <a:pt x="703198" y="53822"/>
                  </a:lnTo>
                  <a:lnTo>
                    <a:pt x="703198" y="67538"/>
                  </a:lnTo>
                  <a:lnTo>
                    <a:pt x="719969" y="67538"/>
                  </a:lnTo>
                  <a:lnTo>
                    <a:pt x="718523" y="55850"/>
                  </a:lnTo>
                  <a:lnTo>
                    <a:pt x="713866" y="46888"/>
                  </a:lnTo>
                  <a:close/>
                </a:path>
                <a:path w="782954" h="114934">
                  <a:moveTo>
                    <a:pt x="626325" y="35432"/>
                  </a:moveTo>
                  <a:lnTo>
                    <a:pt x="609726" y="35432"/>
                  </a:lnTo>
                  <a:lnTo>
                    <a:pt x="610171" y="38900"/>
                  </a:lnTo>
                  <a:lnTo>
                    <a:pt x="610212" y="40106"/>
                  </a:lnTo>
                  <a:lnTo>
                    <a:pt x="610323" y="113106"/>
                  </a:lnTo>
                  <a:lnTo>
                    <a:pt x="628688" y="113106"/>
                  </a:lnTo>
                  <a:lnTo>
                    <a:pt x="628688" y="56083"/>
                  </a:lnTo>
                  <a:lnTo>
                    <a:pt x="636981" y="51409"/>
                  </a:lnTo>
                  <a:lnTo>
                    <a:pt x="649719" y="51409"/>
                  </a:lnTo>
                  <a:lnTo>
                    <a:pt x="649719" y="49606"/>
                  </a:lnTo>
                  <a:lnTo>
                    <a:pt x="626910" y="49606"/>
                  </a:lnTo>
                  <a:lnTo>
                    <a:pt x="626770" y="43421"/>
                  </a:lnTo>
                  <a:lnTo>
                    <a:pt x="626465" y="40106"/>
                  </a:lnTo>
                  <a:lnTo>
                    <a:pt x="626325" y="35432"/>
                  </a:lnTo>
                  <a:close/>
                </a:path>
                <a:path w="782954" h="114934">
                  <a:moveTo>
                    <a:pt x="649719" y="51409"/>
                  </a:moveTo>
                  <a:lnTo>
                    <a:pt x="646455" y="51409"/>
                  </a:lnTo>
                  <a:lnTo>
                    <a:pt x="648080" y="51714"/>
                  </a:lnTo>
                  <a:lnTo>
                    <a:pt x="649719" y="52171"/>
                  </a:lnTo>
                  <a:lnTo>
                    <a:pt x="649719" y="51409"/>
                  </a:lnTo>
                  <a:close/>
                </a:path>
                <a:path w="782954" h="114934">
                  <a:moveTo>
                    <a:pt x="647788" y="34226"/>
                  </a:moveTo>
                  <a:lnTo>
                    <a:pt x="635203" y="34226"/>
                  </a:lnTo>
                  <a:lnTo>
                    <a:pt x="629424" y="43573"/>
                  </a:lnTo>
                  <a:lnTo>
                    <a:pt x="627202" y="49606"/>
                  </a:lnTo>
                  <a:lnTo>
                    <a:pt x="649719" y="49606"/>
                  </a:lnTo>
                  <a:lnTo>
                    <a:pt x="649719" y="34670"/>
                  </a:lnTo>
                  <a:lnTo>
                    <a:pt x="648677" y="34518"/>
                  </a:lnTo>
                  <a:lnTo>
                    <a:pt x="647788" y="34226"/>
                  </a:lnTo>
                  <a:close/>
                </a:path>
                <a:path w="782954" h="114934">
                  <a:moveTo>
                    <a:pt x="562317" y="6337"/>
                  </a:moveTo>
                  <a:lnTo>
                    <a:pt x="540387" y="10404"/>
                  </a:lnTo>
                  <a:lnTo>
                    <a:pt x="524479" y="21704"/>
                  </a:lnTo>
                  <a:lnTo>
                    <a:pt x="514801" y="38837"/>
                  </a:lnTo>
                  <a:lnTo>
                    <a:pt x="511530" y="60464"/>
                  </a:lnTo>
                  <a:lnTo>
                    <a:pt x="514801" y="82090"/>
                  </a:lnTo>
                  <a:lnTo>
                    <a:pt x="524484" y="99242"/>
                  </a:lnTo>
                  <a:lnTo>
                    <a:pt x="540387" y="110544"/>
                  </a:lnTo>
                  <a:lnTo>
                    <a:pt x="562317" y="114617"/>
                  </a:lnTo>
                  <a:lnTo>
                    <a:pt x="571626" y="114168"/>
                  </a:lnTo>
                  <a:lnTo>
                    <a:pt x="579366" y="112964"/>
                  </a:lnTo>
                  <a:lnTo>
                    <a:pt x="585579" y="111226"/>
                  </a:lnTo>
                  <a:lnTo>
                    <a:pt x="590308" y="109169"/>
                  </a:lnTo>
                  <a:lnTo>
                    <a:pt x="590308" y="99212"/>
                  </a:lnTo>
                  <a:lnTo>
                    <a:pt x="561581" y="99212"/>
                  </a:lnTo>
                  <a:lnTo>
                    <a:pt x="548721" y="96485"/>
                  </a:lnTo>
                  <a:lnTo>
                    <a:pt x="539349" y="88711"/>
                  </a:lnTo>
                  <a:lnTo>
                    <a:pt x="533617" y="76500"/>
                  </a:lnTo>
                  <a:lnTo>
                    <a:pt x="531672" y="60464"/>
                  </a:lnTo>
                  <a:lnTo>
                    <a:pt x="533676" y="45182"/>
                  </a:lnTo>
                  <a:lnTo>
                    <a:pt x="539592" y="32883"/>
                  </a:lnTo>
                  <a:lnTo>
                    <a:pt x="549283" y="24685"/>
                  </a:lnTo>
                  <a:lnTo>
                    <a:pt x="562609" y="21704"/>
                  </a:lnTo>
                  <a:lnTo>
                    <a:pt x="586842" y="21694"/>
                  </a:lnTo>
                  <a:lnTo>
                    <a:pt x="587501" y="10858"/>
                  </a:lnTo>
                  <a:lnTo>
                    <a:pt x="583540" y="9385"/>
                  </a:lnTo>
                  <a:lnTo>
                    <a:pt x="577848" y="7916"/>
                  </a:lnTo>
                  <a:lnTo>
                    <a:pt x="570687" y="6788"/>
                  </a:lnTo>
                  <a:lnTo>
                    <a:pt x="562317" y="6337"/>
                  </a:lnTo>
                  <a:close/>
                </a:path>
                <a:path w="782954" h="114934">
                  <a:moveTo>
                    <a:pt x="590308" y="54127"/>
                  </a:moveTo>
                  <a:lnTo>
                    <a:pt x="556844" y="54127"/>
                  </a:lnTo>
                  <a:lnTo>
                    <a:pt x="556844" y="68897"/>
                  </a:lnTo>
                  <a:lnTo>
                    <a:pt x="572528" y="68897"/>
                  </a:lnTo>
                  <a:lnTo>
                    <a:pt x="572528" y="97243"/>
                  </a:lnTo>
                  <a:lnTo>
                    <a:pt x="570026" y="98310"/>
                  </a:lnTo>
                  <a:lnTo>
                    <a:pt x="566013" y="99212"/>
                  </a:lnTo>
                  <a:lnTo>
                    <a:pt x="590308" y="99212"/>
                  </a:lnTo>
                  <a:lnTo>
                    <a:pt x="590308" y="54127"/>
                  </a:lnTo>
                  <a:close/>
                </a:path>
                <a:path w="782954" h="114934">
                  <a:moveTo>
                    <a:pt x="586842" y="21704"/>
                  </a:moveTo>
                  <a:lnTo>
                    <a:pt x="572096" y="21704"/>
                  </a:lnTo>
                  <a:lnTo>
                    <a:pt x="580377" y="24422"/>
                  </a:lnTo>
                  <a:lnTo>
                    <a:pt x="586447" y="28181"/>
                  </a:lnTo>
                  <a:lnTo>
                    <a:pt x="586842" y="21704"/>
                  </a:lnTo>
                  <a:close/>
                </a:path>
                <a:path w="782954" h="114934">
                  <a:moveTo>
                    <a:pt x="489003" y="43268"/>
                  </a:moveTo>
                  <a:lnTo>
                    <a:pt x="470534" y="43268"/>
                  </a:lnTo>
                  <a:lnTo>
                    <a:pt x="479609" y="45586"/>
                  </a:lnTo>
                  <a:lnTo>
                    <a:pt x="484270" y="51409"/>
                  </a:lnTo>
                  <a:lnTo>
                    <a:pt x="485986" y="59042"/>
                  </a:lnTo>
                  <a:lnTo>
                    <a:pt x="486232" y="66789"/>
                  </a:lnTo>
                  <a:lnTo>
                    <a:pt x="480758" y="66789"/>
                  </a:lnTo>
                  <a:lnTo>
                    <a:pt x="470507" y="67244"/>
                  </a:lnTo>
                  <a:lnTo>
                    <a:pt x="458493" y="70091"/>
                  </a:lnTo>
                  <a:lnTo>
                    <a:pt x="448506" y="77547"/>
                  </a:lnTo>
                  <a:lnTo>
                    <a:pt x="444334" y="91833"/>
                  </a:lnTo>
                  <a:lnTo>
                    <a:pt x="445974" y="100599"/>
                  </a:lnTo>
                  <a:lnTo>
                    <a:pt x="450457" y="107688"/>
                  </a:lnTo>
                  <a:lnTo>
                    <a:pt x="457134" y="112430"/>
                  </a:lnTo>
                  <a:lnTo>
                    <a:pt x="465353" y="114160"/>
                  </a:lnTo>
                  <a:lnTo>
                    <a:pt x="475132" y="114160"/>
                  </a:lnTo>
                  <a:lnTo>
                    <a:pt x="481355" y="110515"/>
                  </a:lnTo>
                  <a:lnTo>
                    <a:pt x="484133" y="105994"/>
                  </a:lnTo>
                  <a:lnTo>
                    <a:pt x="458254" y="105994"/>
                  </a:lnTo>
                  <a:lnTo>
                    <a:pt x="453516" y="98310"/>
                  </a:lnTo>
                  <a:lnTo>
                    <a:pt x="453516" y="91833"/>
                  </a:lnTo>
                  <a:lnTo>
                    <a:pt x="456130" y="81716"/>
                  </a:lnTo>
                  <a:lnTo>
                    <a:pt x="463211" y="76520"/>
                  </a:lnTo>
                  <a:lnTo>
                    <a:pt x="473624" y="74606"/>
                  </a:lnTo>
                  <a:lnTo>
                    <a:pt x="486232" y="74333"/>
                  </a:lnTo>
                  <a:lnTo>
                    <a:pt x="494233" y="74333"/>
                  </a:lnTo>
                  <a:lnTo>
                    <a:pt x="494143" y="59042"/>
                  </a:lnTo>
                  <a:lnTo>
                    <a:pt x="493869" y="54271"/>
                  </a:lnTo>
                  <a:lnTo>
                    <a:pt x="491326" y="45775"/>
                  </a:lnTo>
                  <a:lnTo>
                    <a:pt x="489003" y="43268"/>
                  </a:lnTo>
                  <a:close/>
                </a:path>
                <a:path w="782954" h="114934">
                  <a:moveTo>
                    <a:pt x="494268" y="102082"/>
                  </a:moveTo>
                  <a:lnTo>
                    <a:pt x="486829" y="102082"/>
                  </a:lnTo>
                  <a:lnTo>
                    <a:pt x="487425" y="113118"/>
                  </a:lnTo>
                  <a:lnTo>
                    <a:pt x="495122" y="113118"/>
                  </a:lnTo>
                  <a:lnTo>
                    <a:pt x="494268" y="102082"/>
                  </a:lnTo>
                  <a:close/>
                </a:path>
                <a:path w="782954" h="114934">
                  <a:moveTo>
                    <a:pt x="494233" y="74333"/>
                  </a:moveTo>
                  <a:lnTo>
                    <a:pt x="486232" y="74333"/>
                  </a:lnTo>
                  <a:lnTo>
                    <a:pt x="486232" y="83375"/>
                  </a:lnTo>
                  <a:lnTo>
                    <a:pt x="483855" y="95755"/>
                  </a:lnTo>
                  <a:lnTo>
                    <a:pt x="478328" y="102547"/>
                  </a:lnTo>
                  <a:lnTo>
                    <a:pt x="472050" y="105408"/>
                  </a:lnTo>
                  <a:lnTo>
                    <a:pt x="467423" y="105994"/>
                  </a:lnTo>
                  <a:lnTo>
                    <a:pt x="484133" y="105994"/>
                  </a:lnTo>
                  <a:lnTo>
                    <a:pt x="486536" y="102082"/>
                  </a:lnTo>
                  <a:lnTo>
                    <a:pt x="494268" y="102082"/>
                  </a:lnTo>
                  <a:lnTo>
                    <a:pt x="494233" y="74333"/>
                  </a:lnTo>
                  <a:close/>
                </a:path>
                <a:path w="782954" h="114934">
                  <a:moveTo>
                    <a:pt x="470979" y="35128"/>
                  </a:moveTo>
                  <a:lnTo>
                    <a:pt x="462686" y="35128"/>
                  </a:lnTo>
                  <a:lnTo>
                    <a:pt x="457352" y="37998"/>
                  </a:lnTo>
                  <a:lnTo>
                    <a:pt x="450253" y="41909"/>
                  </a:lnTo>
                  <a:lnTo>
                    <a:pt x="451586" y="51257"/>
                  </a:lnTo>
                  <a:lnTo>
                    <a:pt x="452475" y="50507"/>
                  </a:lnTo>
                  <a:lnTo>
                    <a:pt x="460476" y="43268"/>
                  </a:lnTo>
                  <a:lnTo>
                    <a:pt x="489003" y="43268"/>
                  </a:lnTo>
                  <a:lnTo>
                    <a:pt x="484423" y="38324"/>
                  </a:lnTo>
                  <a:lnTo>
                    <a:pt x="470979" y="35128"/>
                  </a:lnTo>
                  <a:close/>
                </a:path>
                <a:path w="782954" h="114934">
                  <a:moveTo>
                    <a:pt x="393420" y="0"/>
                  </a:moveTo>
                  <a:lnTo>
                    <a:pt x="384835" y="0"/>
                  </a:lnTo>
                  <a:lnTo>
                    <a:pt x="384835" y="113118"/>
                  </a:lnTo>
                  <a:lnTo>
                    <a:pt x="393420" y="113118"/>
                  </a:lnTo>
                  <a:lnTo>
                    <a:pt x="393420" y="74028"/>
                  </a:lnTo>
                  <a:lnTo>
                    <a:pt x="404041" y="74028"/>
                  </a:lnTo>
                  <a:lnTo>
                    <a:pt x="400964" y="70256"/>
                  </a:lnTo>
                  <a:lnTo>
                    <a:pt x="403932" y="67094"/>
                  </a:lnTo>
                  <a:lnTo>
                    <a:pt x="393420" y="67094"/>
                  </a:lnTo>
                  <a:lnTo>
                    <a:pt x="393420" y="0"/>
                  </a:lnTo>
                  <a:close/>
                </a:path>
                <a:path w="782954" h="114934">
                  <a:moveTo>
                    <a:pt x="404041" y="74028"/>
                  </a:moveTo>
                  <a:lnTo>
                    <a:pt x="393725" y="74028"/>
                  </a:lnTo>
                  <a:lnTo>
                    <a:pt x="424370" y="113118"/>
                  </a:lnTo>
                  <a:lnTo>
                    <a:pt x="435927" y="113118"/>
                  </a:lnTo>
                  <a:lnTo>
                    <a:pt x="404041" y="74028"/>
                  </a:lnTo>
                  <a:close/>
                </a:path>
                <a:path w="782954" h="114934">
                  <a:moveTo>
                    <a:pt x="432955" y="36169"/>
                  </a:moveTo>
                  <a:lnTo>
                    <a:pt x="421995" y="36169"/>
                  </a:lnTo>
                  <a:lnTo>
                    <a:pt x="393420" y="67094"/>
                  </a:lnTo>
                  <a:lnTo>
                    <a:pt x="403932" y="67094"/>
                  </a:lnTo>
                  <a:lnTo>
                    <a:pt x="432955" y="36169"/>
                  </a:lnTo>
                  <a:close/>
                </a:path>
                <a:path w="782954" h="114934">
                  <a:moveTo>
                    <a:pt x="363829" y="5575"/>
                  </a:moveTo>
                  <a:lnTo>
                    <a:pt x="353466" y="5575"/>
                  </a:lnTo>
                  <a:lnTo>
                    <a:pt x="353466" y="19138"/>
                  </a:lnTo>
                  <a:lnTo>
                    <a:pt x="363829" y="19138"/>
                  </a:lnTo>
                  <a:lnTo>
                    <a:pt x="363829" y="5575"/>
                  </a:lnTo>
                  <a:close/>
                </a:path>
                <a:path w="782954" h="114934">
                  <a:moveTo>
                    <a:pt x="362940" y="36182"/>
                  </a:moveTo>
                  <a:lnTo>
                    <a:pt x="354355" y="36182"/>
                  </a:lnTo>
                  <a:lnTo>
                    <a:pt x="354355" y="113118"/>
                  </a:lnTo>
                  <a:lnTo>
                    <a:pt x="362940" y="113118"/>
                  </a:lnTo>
                  <a:lnTo>
                    <a:pt x="362940" y="36182"/>
                  </a:lnTo>
                  <a:close/>
                </a:path>
                <a:path w="782954" h="114934">
                  <a:moveTo>
                    <a:pt x="258724" y="36169"/>
                  </a:moveTo>
                  <a:lnTo>
                    <a:pt x="250736" y="36169"/>
                  </a:lnTo>
                  <a:lnTo>
                    <a:pt x="250845" y="41909"/>
                  </a:lnTo>
                  <a:lnTo>
                    <a:pt x="250935" y="45034"/>
                  </a:lnTo>
                  <a:lnTo>
                    <a:pt x="251198" y="49812"/>
                  </a:lnTo>
                  <a:lnTo>
                    <a:pt x="251320" y="113118"/>
                  </a:lnTo>
                  <a:lnTo>
                    <a:pt x="259905" y="113118"/>
                  </a:lnTo>
                  <a:lnTo>
                    <a:pt x="259905" y="65290"/>
                  </a:lnTo>
                  <a:lnTo>
                    <a:pt x="261100" y="56824"/>
                  </a:lnTo>
                  <a:lnTo>
                    <a:pt x="264461" y="49812"/>
                  </a:lnTo>
                  <a:lnTo>
                    <a:pt x="266992" y="47485"/>
                  </a:lnTo>
                  <a:lnTo>
                    <a:pt x="259321" y="47485"/>
                  </a:lnTo>
                  <a:lnTo>
                    <a:pt x="259168" y="41909"/>
                  </a:lnTo>
                  <a:lnTo>
                    <a:pt x="259016" y="39649"/>
                  </a:lnTo>
                  <a:lnTo>
                    <a:pt x="258724" y="36169"/>
                  </a:lnTo>
                  <a:close/>
                </a:path>
                <a:path w="782954" h="114934">
                  <a:moveTo>
                    <a:pt x="292695" y="43268"/>
                  </a:moveTo>
                  <a:lnTo>
                    <a:pt x="283451" y="43268"/>
                  </a:lnTo>
                  <a:lnTo>
                    <a:pt x="287678" y="49509"/>
                  </a:lnTo>
                  <a:lnTo>
                    <a:pt x="287743" y="113118"/>
                  </a:lnTo>
                  <a:lnTo>
                    <a:pt x="296341" y="113118"/>
                  </a:lnTo>
                  <a:lnTo>
                    <a:pt x="296341" y="63779"/>
                  </a:lnTo>
                  <a:lnTo>
                    <a:pt x="297272" y="56015"/>
                  </a:lnTo>
                  <a:lnTo>
                    <a:pt x="300118" y="49509"/>
                  </a:lnTo>
                  <a:lnTo>
                    <a:pt x="302298" y="47485"/>
                  </a:lnTo>
                  <a:lnTo>
                    <a:pt x="294411" y="47485"/>
                  </a:lnTo>
                  <a:lnTo>
                    <a:pt x="292695" y="43268"/>
                  </a:lnTo>
                  <a:close/>
                </a:path>
                <a:path w="782954" h="114934">
                  <a:moveTo>
                    <a:pt x="328764" y="43268"/>
                  </a:moveTo>
                  <a:lnTo>
                    <a:pt x="324180" y="43268"/>
                  </a:lnTo>
                  <a:lnTo>
                    <a:pt x="324180" y="113118"/>
                  </a:lnTo>
                  <a:lnTo>
                    <a:pt x="332752" y="113118"/>
                  </a:lnTo>
                  <a:lnTo>
                    <a:pt x="332752" y="60159"/>
                  </a:lnTo>
                  <a:lnTo>
                    <a:pt x="331845" y="51158"/>
                  </a:lnTo>
                  <a:lnTo>
                    <a:pt x="328764" y="43268"/>
                  </a:lnTo>
                  <a:close/>
                </a:path>
                <a:path w="782954" h="114934">
                  <a:moveTo>
                    <a:pt x="289521" y="35128"/>
                  </a:moveTo>
                  <a:lnTo>
                    <a:pt x="267461" y="35128"/>
                  </a:lnTo>
                  <a:lnTo>
                    <a:pt x="261988" y="41909"/>
                  </a:lnTo>
                  <a:lnTo>
                    <a:pt x="259613" y="47485"/>
                  </a:lnTo>
                  <a:lnTo>
                    <a:pt x="266992" y="47485"/>
                  </a:lnTo>
                  <a:lnTo>
                    <a:pt x="269656" y="45034"/>
                  </a:lnTo>
                  <a:lnTo>
                    <a:pt x="276351" y="43268"/>
                  </a:lnTo>
                  <a:lnTo>
                    <a:pt x="292695" y="43268"/>
                  </a:lnTo>
                  <a:lnTo>
                    <a:pt x="289521" y="35128"/>
                  </a:lnTo>
                  <a:close/>
                </a:path>
                <a:path w="782954" h="114934">
                  <a:moveTo>
                    <a:pt x="313220" y="35128"/>
                  </a:moveTo>
                  <a:lnTo>
                    <a:pt x="302259" y="35128"/>
                  </a:lnTo>
                  <a:lnTo>
                    <a:pt x="296633" y="43878"/>
                  </a:lnTo>
                  <a:lnTo>
                    <a:pt x="294411" y="47485"/>
                  </a:lnTo>
                  <a:lnTo>
                    <a:pt x="302298" y="47485"/>
                  </a:lnTo>
                  <a:lnTo>
                    <a:pt x="304962" y="45010"/>
                  </a:lnTo>
                  <a:lnTo>
                    <a:pt x="311886" y="43268"/>
                  </a:lnTo>
                  <a:lnTo>
                    <a:pt x="328764" y="43268"/>
                  </a:lnTo>
                  <a:lnTo>
                    <a:pt x="328702" y="43116"/>
                  </a:lnTo>
                  <a:lnTo>
                    <a:pt x="322706" y="37342"/>
                  </a:lnTo>
                  <a:lnTo>
                    <a:pt x="313220" y="35128"/>
                  </a:lnTo>
                  <a:close/>
                </a:path>
                <a:path w="782954" h="114934">
                  <a:moveTo>
                    <a:pt x="225542" y="43268"/>
                  </a:moveTo>
                  <a:lnTo>
                    <a:pt x="207073" y="43268"/>
                  </a:lnTo>
                  <a:lnTo>
                    <a:pt x="216148" y="45586"/>
                  </a:lnTo>
                  <a:lnTo>
                    <a:pt x="220808" y="51409"/>
                  </a:lnTo>
                  <a:lnTo>
                    <a:pt x="222525" y="59042"/>
                  </a:lnTo>
                  <a:lnTo>
                    <a:pt x="222770" y="66789"/>
                  </a:lnTo>
                  <a:lnTo>
                    <a:pt x="217296" y="66789"/>
                  </a:lnTo>
                  <a:lnTo>
                    <a:pt x="207040" y="67244"/>
                  </a:lnTo>
                  <a:lnTo>
                    <a:pt x="195027" y="70091"/>
                  </a:lnTo>
                  <a:lnTo>
                    <a:pt x="185042" y="77547"/>
                  </a:lnTo>
                  <a:lnTo>
                    <a:pt x="180873" y="91833"/>
                  </a:lnTo>
                  <a:lnTo>
                    <a:pt x="182512" y="100599"/>
                  </a:lnTo>
                  <a:lnTo>
                    <a:pt x="186996" y="107688"/>
                  </a:lnTo>
                  <a:lnTo>
                    <a:pt x="193673" y="112430"/>
                  </a:lnTo>
                  <a:lnTo>
                    <a:pt x="201891" y="114160"/>
                  </a:lnTo>
                  <a:lnTo>
                    <a:pt x="211670" y="114160"/>
                  </a:lnTo>
                  <a:lnTo>
                    <a:pt x="217881" y="110515"/>
                  </a:lnTo>
                  <a:lnTo>
                    <a:pt x="220666" y="105994"/>
                  </a:lnTo>
                  <a:lnTo>
                    <a:pt x="194792" y="105994"/>
                  </a:lnTo>
                  <a:lnTo>
                    <a:pt x="190055" y="98310"/>
                  </a:lnTo>
                  <a:lnTo>
                    <a:pt x="190055" y="91833"/>
                  </a:lnTo>
                  <a:lnTo>
                    <a:pt x="192668" y="81716"/>
                  </a:lnTo>
                  <a:lnTo>
                    <a:pt x="199750" y="76520"/>
                  </a:lnTo>
                  <a:lnTo>
                    <a:pt x="210163" y="74606"/>
                  </a:lnTo>
                  <a:lnTo>
                    <a:pt x="222770" y="74333"/>
                  </a:lnTo>
                  <a:lnTo>
                    <a:pt x="230771" y="74333"/>
                  </a:lnTo>
                  <a:lnTo>
                    <a:pt x="230682" y="59042"/>
                  </a:lnTo>
                  <a:lnTo>
                    <a:pt x="230408" y="54271"/>
                  </a:lnTo>
                  <a:lnTo>
                    <a:pt x="227864" y="45775"/>
                  </a:lnTo>
                  <a:lnTo>
                    <a:pt x="225542" y="43268"/>
                  </a:lnTo>
                  <a:close/>
                </a:path>
                <a:path w="782954" h="114934">
                  <a:moveTo>
                    <a:pt x="230806" y="102082"/>
                  </a:moveTo>
                  <a:lnTo>
                    <a:pt x="223367" y="102082"/>
                  </a:lnTo>
                  <a:lnTo>
                    <a:pt x="223951" y="113118"/>
                  </a:lnTo>
                  <a:lnTo>
                    <a:pt x="231647" y="113118"/>
                  </a:lnTo>
                  <a:lnTo>
                    <a:pt x="230806" y="102082"/>
                  </a:lnTo>
                  <a:close/>
                </a:path>
                <a:path w="782954" h="114934">
                  <a:moveTo>
                    <a:pt x="230771" y="74333"/>
                  </a:moveTo>
                  <a:lnTo>
                    <a:pt x="222770" y="74333"/>
                  </a:lnTo>
                  <a:lnTo>
                    <a:pt x="222770" y="83375"/>
                  </a:lnTo>
                  <a:lnTo>
                    <a:pt x="220396" y="95755"/>
                  </a:lnTo>
                  <a:lnTo>
                    <a:pt x="214871" y="102547"/>
                  </a:lnTo>
                  <a:lnTo>
                    <a:pt x="208593" y="105408"/>
                  </a:lnTo>
                  <a:lnTo>
                    <a:pt x="203961" y="105994"/>
                  </a:lnTo>
                  <a:lnTo>
                    <a:pt x="220666" y="105994"/>
                  </a:lnTo>
                  <a:lnTo>
                    <a:pt x="223075" y="102082"/>
                  </a:lnTo>
                  <a:lnTo>
                    <a:pt x="230806" y="102082"/>
                  </a:lnTo>
                  <a:lnTo>
                    <a:pt x="230771" y="74333"/>
                  </a:lnTo>
                  <a:close/>
                </a:path>
                <a:path w="782954" h="114934">
                  <a:moveTo>
                    <a:pt x="207517" y="35128"/>
                  </a:moveTo>
                  <a:lnTo>
                    <a:pt x="199224" y="35128"/>
                  </a:lnTo>
                  <a:lnTo>
                    <a:pt x="193890" y="37998"/>
                  </a:lnTo>
                  <a:lnTo>
                    <a:pt x="186791" y="41909"/>
                  </a:lnTo>
                  <a:lnTo>
                    <a:pt x="188125" y="51257"/>
                  </a:lnTo>
                  <a:lnTo>
                    <a:pt x="189014" y="50507"/>
                  </a:lnTo>
                  <a:lnTo>
                    <a:pt x="197002" y="43268"/>
                  </a:lnTo>
                  <a:lnTo>
                    <a:pt x="225542" y="43268"/>
                  </a:lnTo>
                  <a:lnTo>
                    <a:pt x="220961" y="38324"/>
                  </a:lnTo>
                  <a:lnTo>
                    <a:pt x="207517" y="35128"/>
                  </a:lnTo>
                  <a:close/>
                </a:path>
                <a:path w="782954" h="114934">
                  <a:moveTo>
                    <a:pt x="153060" y="36169"/>
                  </a:moveTo>
                  <a:lnTo>
                    <a:pt x="145059" y="36169"/>
                  </a:lnTo>
                  <a:lnTo>
                    <a:pt x="145211" y="44183"/>
                  </a:lnTo>
                  <a:lnTo>
                    <a:pt x="145643" y="52019"/>
                  </a:lnTo>
                  <a:lnTo>
                    <a:pt x="145643" y="113118"/>
                  </a:lnTo>
                  <a:lnTo>
                    <a:pt x="154241" y="113118"/>
                  </a:lnTo>
                  <a:lnTo>
                    <a:pt x="154241" y="64681"/>
                  </a:lnTo>
                  <a:lnTo>
                    <a:pt x="155426" y="55544"/>
                  </a:lnTo>
                  <a:lnTo>
                    <a:pt x="159054" y="49263"/>
                  </a:lnTo>
                  <a:lnTo>
                    <a:pt x="160527" y="48399"/>
                  </a:lnTo>
                  <a:lnTo>
                    <a:pt x="153657" y="48399"/>
                  </a:lnTo>
                  <a:lnTo>
                    <a:pt x="153524" y="45639"/>
                  </a:lnTo>
                  <a:lnTo>
                    <a:pt x="153200" y="40716"/>
                  </a:lnTo>
                  <a:lnTo>
                    <a:pt x="153060" y="36169"/>
                  </a:lnTo>
                  <a:close/>
                </a:path>
                <a:path w="782954" h="114934">
                  <a:moveTo>
                    <a:pt x="174078" y="35128"/>
                  </a:moveTo>
                  <a:lnTo>
                    <a:pt x="165785" y="35128"/>
                  </a:lnTo>
                  <a:lnTo>
                    <a:pt x="159423" y="37388"/>
                  </a:lnTo>
                  <a:lnTo>
                    <a:pt x="153949" y="48399"/>
                  </a:lnTo>
                  <a:lnTo>
                    <a:pt x="160527" y="48399"/>
                  </a:lnTo>
                  <a:lnTo>
                    <a:pt x="165235" y="45639"/>
                  </a:lnTo>
                  <a:lnTo>
                    <a:pt x="174078" y="44475"/>
                  </a:lnTo>
                  <a:lnTo>
                    <a:pt x="174078" y="35128"/>
                  </a:lnTo>
                  <a:close/>
                </a:path>
                <a:path w="782954" h="114934">
                  <a:moveTo>
                    <a:pt x="104660" y="35128"/>
                  </a:moveTo>
                  <a:lnTo>
                    <a:pt x="95099" y="37229"/>
                  </a:lnTo>
                  <a:lnTo>
                    <a:pt x="86485" y="44022"/>
                  </a:lnTo>
                  <a:lnTo>
                    <a:pt x="80259" y="56243"/>
                  </a:lnTo>
                  <a:lnTo>
                    <a:pt x="77863" y="74625"/>
                  </a:lnTo>
                  <a:lnTo>
                    <a:pt x="78326" y="84049"/>
                  </a:lnTo>
                  <a:lnTo>
                    <a:pt x="81565" y="97278"/>
                  </a:lnTo>
                  <a:lnTo>
                    <a:pt x="90358" y="109065"/>
                  </a:lnTo>
                  <a:lnTo>
                    <a:pt x="107480" y="114160"/>
                  </a:lnTo>
                  <a:lnTo>
                    <a:pt x="116509" y="114160"/>
                  </a:lnTo>
                  <a:lnTo>
                    <a:pt x="121551" y="111721"/>
                  </a:lnTo>
                  <a:lnTo>
                    <a:pt x="125094" y="109766"/>
                  </a:lnTo>
                  <a:lnTo>
                    <a:pt x="124928" y="105994"/>
                  </a:lnTo>
                  <a:lnTo>
                    <a:pt x="108356" y="105994"/>
                  </a:lnTo>
                  <a:lnTo>
                    <a:pt x="103590" y="105548"/>
                  </a:lnTo>
                  <a:lnTo>
                    <a:pt x="96424" y="102431"/>
                  </a:lnTo>
                  <a:lnTo>
                    <a:pt x="89896" y="93971"/>
                  </a:lnTo>
                  <a:lnTo>
                    <a:pt x="87045" y="77495"/>
                  </a:lnTo>
                  <a:lnTo>
                    <a:pt x="128803" y="77495"/>
                  </a:lnTo>
                  <a:lnTo>
                    <a:pt x="128416" y="69354"/>
                  </a:lnTo>
                  <a:lnTo>
                    <a:pt x="87045" y="69354"/>
                  </a:lnTo>
                  <a:lnTo>
                    <a:pt x="88083" y="61083"/>
                  </a:lnTo>
                  <a:lnTo>
                    <a:pt x="91244" y="52582"/>
                  </a:lnTo>
                  <a:lnTo>
                    <a:pt x="96598" y="45946"/>
                  </a:lnTo>
                  <a:lnTo>
                    <a:pt x="104216" y="43268"/>
                  </a:lnTo>
                  <a:lnTo>
                    <a:pt x="120644" y="43268"/>
                  </a:lnTo>
                  <a:lnTo>
                    <a:pt x="117680" y="39119"/>
                  </a:lnTo>
                  <a:lnTo>
                    <a:pt x="104660" y="35128"/>
                  </a:lnTo>
                  <a:close/>
                </a:path>
                <a:path w="782954" h="114934">
                  <a:moveTo>
                    <a:pt x="124650" y="99669"/>
                  </a:moveTo>
                  <a:lnTo>
                    <a:pt x="120357" y="103581"/>
                  </a:lnTo>
                  <a:lnTo>
                    <a:pt x="113258" y="105994"/>
                  </a:lnTo>
                  <a:lnTo>
                    <a:pt x="124928" y="105994"/>
                  </a:lnTo>
                  <a:lnTo>
                    <a:pt x="124650" y="99669"/>
                  </a:lnTo>
                  <a:close/>
                </a:path>
                <a:path w="782954" h="114934">
                  <a:moveTo>
                    <a:pt x="120644" y="43268"/>
                  </a:moveTo>
                  <a:lnTo>
                    <a:pt x="104216" y="43268"/>
                  </a:lnTo>
                  <a:lnTo>
                    <a:pt x="109559" y="44481"/>
                  </a:lnTo>
                  <a:lnTo>
                    <a:pt x="114528" y="48677"/>
                  </a:lnTo>
                  <a:lnTo>
                    <a:pt x="118192" y="56690"/>
                  </a:lnTo>
                  <a:lnTo>
                    <a:pt x="119621" y="69354"/>
                  </a:lnTo>
                  <a:lnTo>
                    <a:pt x="128416" y="69354"/>
                  </a:lnTo>
                  <a:lnTo>
                    <a:pt x="128113" y="62988"/>
                  </a:lnTo>
                  <a:lnTo>
                    <a:pt x="124952" y="49301"/>
                  </a:lnTo>
                  <a:lnTo>
                    <a:pt x="120644" y="43268"/>
                  </a:lnTo>
                  <a:close/>
                </a:path>
                <a:path w="782954" h="114934">
                  <a:moveTo>
                    <a:pt x="49758" y="6781"/>
                  </a:moveTo>
                  <a:lnTo>
                    <a:pt x="44424" y="6781"/>
                  </a:lnTo>
                  <a:lnTo>
                    <a:pt x="24051" y="11258"/>
                  </a:lnTo>
                  <a:lnTo>
                    <a:pt x="10272" y="23142"/>
                  </a:lnTo>
                  <a:lnTo>
                    <a:pt x="2463" y="40118"/>
                  </a:lnTo>
                  <a:lnTo>
                    <a:pt x="0" y="59867"/>
                  </a:lnTo>
                  <a:lnTo>
                    <a:pt x="2536" y="80239"/>
                  </a:lnTo>
                  <a:lnTo>
                    <a:pt x="10417" y="97582"/>
                  </a:lnTo>
                  <a:lnTo>
                    <a:pt x="24045" y="109640"/>
                  </a:lnTo>
                  <a:lnTo>
                    <a:pt x="43827" y="114160"/>
                  </a:lnTo>
                  <a:lnTo>
                    <a:pt x="52425" y="114160"/>
                  </a:lnTo>
                  <a:lnTo>
                    <a:pt x="61455" y="110820"/>
                  </a:lnTo>
                  <a:lnTo>
                    <a:pt x="61216" y="105384"/>
                  </a:lnTo>
                  <a:lnTo>
                    <a:pt x="43535" y="105384"/>
                  </a:lnTo>
                  <a:lnTo>
                    <a:pt x="33260" y="103470"/>
                  </a:lnTo>
                  <a:lnTo>
                    <a:pt x="22207" y="96512"/>
                  </a:lnTo>
                  <a:lnTo>
                    <a:pt x="13376" y="82683"/>
                  </a:lnTo>
                  <a:lnTo>
                    <a:pt x="9766" y="60159"/>
                  </a:lnTo>
                  <a:lnTo>
                    <a:pt x="14045" y="35822"/>
                  </a:lnTo>
                  <a:lnTo>
                    <a:pt x="24002" y="22410"/>
                  </a:lnTo>
                  <a:lnTo>
                    <a:pt x="35323" y="16716"/>
                  </a:lnTo>
                  <a:lnTo>
                    <a:pt x="43687" y="15532"/>
                  </a:lnTo>
                  <a:lnTo>
                    <a:pt x="61524" y="15532"/>
                  </a:lnTo>
                  <a:lnTo>
                    <a:pt x="61747" y="10248"/>
                  </a:lnTo>
                  <a:lnTo>
                    <a:pt x="56857" y="7835"/>
                  </a:lnTo>
                  <a:lnTo>
                    <a:pt x="49758" y="6781"/>
                  </a:lnTo>
                  <a:close/>
                </a:path>
                <a:path w="782954" h="114934">
                  <a:moveTo>
                    <a:pt x="61010" y="100710"/>
                  </a:moveTo>
                  <a:lnTo>
                    <a:pt x="51384" y="105384"/>
                  </a:lnTo>
                  <a:lnTo>
                    <a:pt x="61216" y="105384"/>
                  </a:lnTo>
                  <a:lnTo>
                    <a:pt x="61010" y="100710"/>
                  </a:lnTo>
                  <a:close/>
                </a:path>
                <a:path w="782954" h="114934">
                  <a:moveTo>
                    <a:pt x="61524" y="15532"/>
                  </a:moveTo>
                  <a:lnTo>
                    <a:pt x="51092" y="15532"/>
                  </a:lnTo>
                  <a:lnTo>
                    <a:pt x="58483" y="18402"/>
                  </a:lnTo>
                  <a:lnTo>
                    <a:pt x="61302" y="20802"/>
                  </a:lnTo>
                  <a:lnTo>
                    <a:pt x="61524" y="15532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" name="object 31">
              <a:extLst>
                <a:ext uri="{FF2B5EF4-FFF2-40B4-BE49-F238E27FC236}">
                  <a16:creationId xmlns:a16="http://schemas.microsoft.com/office/drawing/2014/main" id="{00EB25B3-2110-118C-3CAC-B9666A92F38E}"/>
                </a:ext>
              </a:extLst>
            </p:cNvPr>
            <p:cNvSpPr/>
            <p:nvPr/>
          </p:nvSpPr>
          <p:spPr>
            <a:xfrm>
              <a:off x="3389480" y="8121214"/>
              <a:ext cx="239774" cy="183894"/>
            </a:xfrm>
            <a:custGeom>
              <a:avLst/>
              <a:gdLst/>
              <a:ahLst/>
              <a:cxnLst/>
              <a:rect l="l" t="t" r="r" b="b"/>
              <a:pathLst>
                <a:path w="299720" h="229870">
                  <a:moveTo>
                    <a:pt x="142595" y="0"/>
                  </a:moveTo>
                  <a:lnTo>
                    <a:pt x="136423" y="7543"/>
                  </a:lnTo>
                  <a:lnTo>
                    <a:pt x="4521" y="173507"/>
                  </a:lnTo>
                  <a:lnTo>
                    <a:pt x="0" y="179362"/>
                  </a:lnTo>
                  <a:lnTo>
                    <a:pt x="2159" y="187020"/>
                  </a:lnTo>
                  <a:lnTo>
                    <a:pt x="8496" y="188772"/>
                  </a:lnTo>
                  <a:lnTo>
                    <a:pt x="167779" y="229488"/>
                  </a:lnTo>
                  <a:lnTo>
                    <a:pt x="176845" y="228219"/>
                  </a:lnTo>
                  <a:lnTo>
                    <a:pt x="182346" y="221740"/>
                  </a:lnTo>
                  <a:lnTo>
                    <a:pt x="182570" y="213706"/>
                  </a:lnTo>
                  <a:lnTo>
                    <a:pt x="175806" y="207771"/>
                  </a:lnTo>
                  <a:lnTo>
                    <a:pt x="29032" y="172453"/>
                  </a:lnTo>
                  <a:lnTo>
                    <a:pt x="139153" y="30086"/>
                  </a:lnTo>
                  <a:lnTo>
                    <a:pt x="157256" y="30086"/>
                  </a:lnTo>
                  <a:lnTo>
                    <a:pt x="151091" y="8801"/>
                  </a:lnTo>
                  <a:lnTo>
                    <a:pt x="147751" y="3835"/>
                  </a:lnTo>
                  <a:lnTo>
                    <a:pt x="142595" y="0"/>
                  </a:lnTo>
                  <a:close/>
                </a:path>
                <a:path w="299720" h="229870">
                  <a:moveTo>
                    <a:pt x="157256" y="30086"/>
                  </a:moveTo>
                  <a:lnTo>
                    <a:pt x="139153" y="30086"/>
                  </a:lnTo>
                  <a:lnTo>
                    <a:pt x="196519" y="214261"/>
                  </a:lnTo>
                  <a:lnTo>
                    <a:pt x="197993" y="216661"/>
                  </a:lnTo>
                  <a:lnTo>
                    <a:pt x="199631" y="219951"/>
                  </a:lnTo>
                  <a:lnTo>
                    <a:pt x="203479" y="217982"/>
                  </a:lnTo>
                  <a:lnTo>
                    <a:pt x="225385" y="201040"/>
                  </a:lnTo>
                  <a:lnTo>
                    <a:pt x="206768" y="201040"/>
                  </a:lnTo>
                  <a:lnTo>
                    <a:pt x="157256" y="30086"/>
                  </a:lnTo>
                  <a:close/>
                </a:path>
                <a:path w="299720" h="229870">
                  <a:moveTo>
                    <a:pt x="160858" y="15354"/>
                  </a:moveTo>
                  <a:lnTo>
                    <a:pt x="286029" y="142849"/>
                  </a:lnTo>
                  <a:lnTo>
                    <a:pt x="206768" y="201040"/>
                  </a:lnTo>
                  <a:lnTo>
                    <a:pt x="225385" y="201040"/>
                  </a:lnTo>
                  <a:lnTo>
                    <a:pt x="298018" y="144868"/>
                  </a:lnTo>
                  <a:lnTo>
                    <a:pt x="299351" y="142798"/>
                  </a:lnTo>
                  <a:lnTo>
                    <a:pt x="299085" y="140042"/>
                  </a:lnTo>
                  <a:lnTo>
                    <a:pt x="297510" y="138582"/>
                  </a:lnTo>
                  <a:lnTo>
                    <a:pt x="160858" y="15354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20" name="Obraz 119">
            <a:extLst>
              <a:ext uri="{FF2B5EF4-FFF2-40B4-BE49-F238E27FC236}">
                <a16:creationId xmlns:a16="http://schemas.microsoft.com/office/drawing/2014/main" id="{B95C8479-AD26-A18E-EAF3-7C6199544B64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7251" y="5858601"/>
            <a:ext cx="1319598" cy="364739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9A073A2-2B93-5D8F-E0A7-3FA80C3BD24E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830" y="7578402"/>
            <a:ext cx="1276561" cy="376637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16D3072A-CBAD-93BF-96E2-A814BCE713D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3860" y="7628615"/>
            <a:ext cx="1407146" cy="400536"/>
          </a:xfrm>
          <a:prstGeom prst="rect">
            <a:avLst/>
          </a:prstGeom>
        </p:spPr>
      </p:pic>
      <p:pic>
        <p:nvPicPr>
          <p:cNvPr id="1026" name="Picture 2" descr="Ceram Unie">
            <a:hlinkClick r:id="rId27"/>
            <a:extLst>
              <a:ext uri="{FF2B5EF4-FFF2-40B4-BE49-F238E27FC236}">
                <a16:creationId xmlns:a16="http://schemas.microsoft.com/office/drawing/2014/main" id="{31EDAB3E-3E75-15C5-E06A-1394C1681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768" y="3125571"/>
            <a:ext cx="41052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Obraz 21">
            <a:extLst>
              <a:ext uri="{FF2B5EF4-FFF2-40B4-BE49-F238E27FC236}">
                <a16:creationId xmlns:a16="http://schemas.microsoft.com/office/drawing/2014/main" id="{65B2EA80-94FE-ED36-1CC0-C37781B6849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" y="1330475"/>
            <a:ext cx="1615440" cy="1621536"/>
          </a:xfrm>
          <a:prstGeom prst="rect">
            <a:avLst/>
          </a:prstGeom>
        </p:spPr>
      </p:pic>
      <p:sp>
        <p:nvSpPr>
          <p:cNvPr id="24" name="pole tekstowe 23">
            <a:extLst>
              <a:ext uri="{FF2B5EF4-FFF2-40B4-BE49-F238E27FC236}">
                <a16:creationId xmlns:a16="http://schemas.microsoft.com/office/drawing/2014/main" id="{C1A52C17-55F0-F1A8-DB19-CC8E8DEEAB96}"/>
              </a:ext>
            </a:extLst>
          </p:cNvPr>
          <p:cNvSpPr txBox="1"/>
          <p:nvPr/>
        </p:nvSpPr>
        <p:spPr>
          <a:xfrm>
            <a:off x="264220" y="1275936"/>
            <a:ext cx="8484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b="1" dirty="0"/>
              <a:t>EUROPEJSKA FEDERACJA PRODUCENTÓW PŁYTEK CERAMICZNYCH</a:t>
            </a:r>
          </a:p>
        </p:txBody>
      </p:sp>
      <p:sp>
        <p:nvSpPr>
          <p:cNvPr id="27" name="pole tekstowe 26">
            <a:extLst>
              <a:ext uri="{FF2B5EF4-FFF2-40B4-BE49-F238E27FC236}">
                <a16:creationId xmlns:a16="http://schemas.microsoft.com/office/drawing/2014/main" id="{37460AED-43BF-0426-1C23-AA708F8F50D4}"/>
              </a:ext>
            </a:extLst>
          </p:cNvPr>
          <p:cNvSpPr txBox="1"/>
          <p:nvPr/>
        </p:nvSpPr>
        <p:spPr>
          <a:xfrm>
            <a:off x="209252" y="2732790"/>
            <a:ext cx="8484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b="1" dirty="0"/>
              <a:t>EUROPEJSKIE STOWARZYSZENIE PRZEMYSŁU CERAMICZNEGO</a:t>
            </a:r>
          </a:p>
        </p:txBody>
      </p:sp>
      <p:pic>
        <p:nvPicPr>
          <p:cNvPr id="28" name="Obraz 27">
            <a:extLst>
              <a:ext uri="{FF2B5EF4-FFF2-40B4-BE49-F238E27FC236}">
                <a16:creationId xmlns:a16="http://schemas.microsoft.com/office/drawing/2014/main" id="{62AA8EDD-C02B-5F92-1B3B-8FE4F73C6586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01067" y="4039533"/>
            <a:ext cx="726121" cy="968162"/>
          </a:xfrm>
          <a:prstGeom prst="rect">
            <a:avLst/>
          </a:prstGeom>
        </p:spPr>
      </p:pic>
      <p:sp>
        <p:nvSpPr>
          <p:cNvPr id="30" name="pole tekstowe 29">
            <a:extLst>
              <a:ext uri="{FF2B5EF4-FFF2-40B4-BE49-F238E27FC236}">
                <a16:creationId xmlns:a16="http://schemas.microsoft.com/office/drawing/2014/main" id="{95533B2F-CF4C-6CF1-E92B-BA369D5AED66}"/>
              </a:ext>
            </a:extLst>
          </p:cNvPr>
          <p:cNvSpPr txBox="1"/>
          <p:nvPr/>
        </p:nvSpPr>
        <p:spPr>
          <a:xfrm>
            <a:off x="1098137" y="4469618"/>
            <a:ext cx="8484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b="1" dirty="0"/>
              <a:t>KONFEDERACJA LEWIATAN</a:t>
            </a:r>
          </a:p>
        </p:txBody>
      </p:sp>
    </p:spTree>
    <p:extLst>
      <p:ext uri="{BB962C8B-B14F-4D97-AF65-F5344CB8AC3E}">
        <p14:creationId xmlns:p14="http://schemas.microsoft.com/office/powerpoint/2010/main" val="3167204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pole tekstowe 16">
            <a:extLst>
              <a:ext uri="{FF2B5EF4-FFF2-40B4-BE49-F238E27FC236}">
                <a16:creationId xmlns:a16="http://schemas.microsoft.com/office/drawing/2014/main" id="{E87FD57E-57C1-D3AE-B8AC-25F408DE3902}"/>
              </a:ext>
            </a:extLst>
          </p:cNvPr>
          <p:cNvSpPr txBox="1"/>
          <p:nvPr/>
        </p:nvSpPr>
        <p:spPr>
          <a:xfrm>
            <a:off x="3531983" y="242201"/>
            <a:ext cx="11395084" cy="85328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r" rtl="0"/>
            <a:r>
              <a:rPr lang="pl-PL" sz="2400" dirty="0">
                <a:latin typeface="Gilroy Light" panose="00000400000000000000" pitchFamily="50" charset="-18"/>
              </a:rPr>
              <a:t>POLSKA   |   PRODUKCJA I KONSUMPCJA PŁYTEK CERAMICZNYCH</a:t>
            </a:r>
          </a:p>
        </p:txBody>
      </p:sp>
      <p:pic>
        <p:nvPicPr>
          <p:cNvPr id="74" name="Obraz 73">
            <a:extLst>
              <a:ext uri="{FF2B5EF4-FFF2-40B4-BE49-F238E27FC236}">
                <a16:creationId xmlns:a16="http://schemas.microsoft.com/office/drawing/2014/main" id="{A8B72FEE-AC18-6009-6573-1D335E0B0E8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64" b="32234"/>
          <a:stretch/>
        </p:blipFill>
        <p:spPr>
          <a:xfrm>
            <a:off x="1633733" y="1063948"/>
            <a:ext cx="14483919" cy="90855"/>
          </a:xfrm>
          <a:prstGeom prst="rect">
            <a:avLst/>
          </a:prstGeom>
        </p:spPr>
      </p:pic>
      <p:pic>
        <p:nvPicPr>
          <p:cNvPr id="139" name="Obraz 138">
            <a:extLst>
              <a:ext uri="{FF2B5EF4-FFF2-40B4-BE49-F238E27FC236}">
                <a16:creationId xmlns:a16="http://schemas.microsoft.com/office/drawing/2014/main" id="{FDCF9455-91E3-597B-7CE8-E23062E3078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24" y="370285"/>
            <a:ext cx="2051348" cy="451735"/>
          </a:xfrm>
          <a:prstGeom prst="rect">
            <a:avLst/>
          </a:prstGeom>
        </p:spPr>
      </p:pic>
      <p:pic>
        <p:nvPicPr>
          <p:cNvPr id="147" name="Obraz 146">
            <a:extLst>
              <a:ext uri="{FF2B5EF4-FFF2-40B4-BE49-F238E27FC236}">
                <a16:creationId xmlns:a16="http://schemas.microsoft.com/office/drawing/2014/main" id="{1F9F6297-F30D-87CC-852C-C5BD125CBA5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1" t="-2998" r="9208" b="17911"/>
          <a:stretch/>
        </p:blipFill>
        <p:spPr>
          <a:xfrm>
            <a:off x="0" y="7878208"/>
            <a:ext cx="16560799" cy="103883"/>
          </a:xfrm>
          <a:prstGeom prst="rect">
            <a:avLst/>
          </a:prstGeom>
        </p:spPr>
      </p:pic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id="{834520EA-F551-9D08-BFFE-1FD8630809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825834"/>
              </p:ext>
            </p:extLst>
          </p:nvPr>
        </p:nvGraphicFramePr>
        <p:xfrm>
          <a:off x="1615785" y="1075771"/>
          <a:ext cx="12767514" cy="27211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2326">
                  <a:extLst>
                    <a:ext uri="{9D8B030D-6E8A-4147-A177-3AD203B41FA5}">
                      <a16:colId xmlns:a16="http://schemas.microsoft.com/office/drawing/2014/main" val="178598690"/>
                    </a:ext>
                  </a:extLst>
                </a:gridCol>
                <a:gridCol w="908262">
                  <a:extLst>
                    <a:ext uri="{9D8B030D-6E8A-4147-A177-3AD203B41FA5}">
                      <a16:colId xmlns:a16="http://schemas.microsoft.com/office/drawing/2014/main" val="3857050092"/>
                    </a:ext>
                  </a:extLst>
                </a:gridCol>
                <a:gridCol w="935022">
                  <a:extLst>
                    <a:ext uri="{9D8B030D-6E8A-4147-A177-3AD203B41FA5}">
                      <a16:colId xmlns:a16="http://schemas.microsoft.com/office/drawing/2014/main" val="3975596715"/>
                    </a:ext>
                  </a:extLst>
                </a:gridCol>
                <a:gridCol w="935022">
                  <a:extLst>
                    <a:ext uri="{9D8B030D-6E8A-4147-A177-3AD203B41FA5}">
                      <a16:colId xmlns:a16="http://schemas.microsoft.com/office/drawing/2014/main" val="2394366392"/>
                    </a:ext>
                  </a:extLst>
                </a:gridCol>
                <a:gridCol w="935022">
                  <a:extLst>
                    <a:ext uri="{9D8B030D-6E8A-4147-A177-3AD203B41FA5}">
                      <a16:colId xmlns:a16="http://schemas.microsoft.com/office/drawing/2014/main" val="232939896"/>
                    </a:ext>
                  </a:extLst>
                </a:gridCol>
                <a:gridCol w="935022">
                  <a:extLst>
                    <a:ext uri="{9D8B030D-6E8A-4147-A177-3AD203B41FA5}">
                      <a16:colId xmlns:a16="http://schemas.microsoft.com/office/drawing/2014/main" val="3821805859"/>
                    </a:ext>
                  </a:extLst>
                </a:gridCol>
                <a:gridCol w="935022">
                  <a:extLst>
                    <a:ext uri="{9D8B030D-6E8A-4147-A177-3AD203B41FA5}">
                      <a16:colId xmlns:a16="http://schemas.microsoft.com/office/drawing/2014/main" val="924124652"/>
                    </a:ext>
                  </a:extLst>
                </a:gridCol>
                <a:gridCol w="712497">
                  <a:extLst>
                    <a:ext uri="{9D8B030D-6E8A-4147-A177-3AD203B41FA5}">
                      <a16:colId xmlns:a16="http://schemas.microsoft.com/office/drawing/2014/main" val="53896464"/>
                    </a:ext>
                  </a:extLst>
                </a:gridCol>
                <a:gridCol w="1094282">
                  <a:extLst>
                    <a:ext uri="{9D8B030D-6E8A-4147-A177-3AD203B41FA5}">
                      <a16:colId xmlns:a16="http://schemas.microsoft.com/office/drawing/2014/main" val="4105005408"/>
                    </a:ext>
                  </a:extLst>
                </a:gridCol>
                <a:gridCol w="1079292">
                  <a:extLst>
                    <a:ext uri="{9D8B030D-6E8A-4147-A177-3AD203B41FA5}">
                      <a16:colId xmlns:a16="http://schemas.microsoft.com/office/drawing/2014/main" val="976399966"/>
                    </a:ext>
                  </a:extLst>
                </a:gridCol>
                <a:gridCol w="1064302">
                  <a:extLst>
                    <a:ext uri="{9D8B030D-6E8A-4147-A177-3AD203B41FA5}">
                      <a16:colId xmlns:a16="http://schemas.microsoft.com/office/drawing/2014/main" val="1238876196"/>
                    </a:ext>
                  </a:extLst>
                </a:gridCol>
                <a:gridCol w="1064301">
                  <a:extLst>
                    <a:ext uri="{9D8B030D-6E8A-4147-A177-3AD203B41FA5}">
                      <a16:colId xmlns:a16="http://schemas.microsoft.com/office/drawing/2014/main" val="230167817"/>
                    </a:ext>
                  </a:extLst>
                </a:gridCol>
                <a:gridCol w="907142">
                  <a:extLst>
                    <a:ext uri="{9D8B030D-6E8A-4147-A177-3AD203B41FA5}">
                      <a16:colId xmlns:a16="http://schemas.microsoft.com/office/drawing/2014/main" val="631704548"/>
                    </a:ext>
                  </a:extLst>
                </a:gridCol>
              </a:tblGrid>
              <a:tr h="318314"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 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010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011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012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013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014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015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016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017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018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019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020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021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68903723"/>
                  </a:ext>
                </a:extLst>
              </a:tr>
              <a:tr h="613659"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PRODUKCJA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87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96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06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08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09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13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17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23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25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25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04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10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32188352"/>
                  </a:ext>
                </a:extLst>
              </a:tr>
              <a:tr h="561906"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EXPORT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33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36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42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48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42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42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46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45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43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50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58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62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12783477"/>
                  </a:ext>
                </a:extLst>
              </a:tr>
              <a:tr h="613659"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IMPORT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14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4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3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13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15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6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18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1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25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6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6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29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26388639"/>
                  </a:ext>
                </a:extLst>
              </a:tr>
              <a:tr h="613659"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KONSUMPCJA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65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71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>
                          <a:effectLst/>
                        </a:rPr>
                        <a:t>78</a:t>
                      </a:r>
                      <a:endParaRPr lang="pl-PL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75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79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87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89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99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107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101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72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600" b="1" u="none" strike="noStrike" dirty="0">
                          <a:effectLst/>
                        </a:rPr>
                        <a:t>97</a:t>
                      </a:r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38839055"/>
                  </a:ext>
                </a:extLst>
              </a:tr>
            </a:tbl>
          </a:graphicData>
        </a:graphic>
      </p:graphicFrame>
      <p:graphicFrame>
        <p:nvGraphicFramePr>
          <p:cNvPr id="6" name="Wykres 5">
            <a:extLst>
              <a:ext uri="{FF2B5EF4-FFF2-40B4-BE49-F238E27FC236}">
                <a16:creationId xmlns:a16="http://schemas.microsoft.com/office/drawing/2014/main" id="{B94841D5-74AE-8D7E-F217-43737B9954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3664663"/>
              </p:ext>
            </p:extLst>
          </p:nvPr>
        </p:nvGraphicFramePr>
        <p:xfrm>
          <a:off x="1341767" y="3912674"/>
          <a:ext cx="13041531" cy="4359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4777650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C5FACCBB-6994-4084-B7B4-BDE597DA8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5" imgH="416" progId="TCLayout.ActiveDocument.1">
                  <p:embed/>
                </p:oleObj>
              </mc:Choice>
              <mc:Fallback>
                <p:oleObj name="think-cell Slide" r:id="rId32" imgW="415" imgH="41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C5FACCBB-6994-4084-B7B4-BDE597DA8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Obraz 14">
            <a:extLst>
              <a:ext uri="{FF2B5EF4-FFF2-40B4-BE49-F238E27FC236}">
                <a16:creationId xmlns:a16="http://schemas.microsoft.com/office/drawing/2014/main" id="{71D7FC8D-F8A9-2ECD-8E73-4FF4735B479B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6200000">
            <a:off x="14838877" y="2780495"/>
            <a:ext cx="1238498" cy="1238498"/>
          </a:xfrm>
          <a:prstGeom prst="rect">
            <a:avLst/>
          </a:prstGeom>
        </p:spPr>
      </p:pic>
      <p:pic>
        <p:nvPicPr>
          <p:cNvPr id="19" name="Obraz 18">
            <a:extLst>
              <a:ext uri="{FF2B5EF4-FFF2-40B4-BE49-F238E27FC236}">
                <a16:creationId xmlns:a16="http://schemas.microsoft.com/office/drawing/2014/main" id="{671D407A-4017-0FBB-8BFD-5168B16DE9DD}"/>
              </a:ext>
            </a:extLst>
          </p:cNvPr>
          <p:cNvPicPr>
            <a:picLocks noChangeAspect="1"/>
          </p:cNvPicPr>
          <p:nvPr/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64" b="32234"/>
          <a:stretch/>
        </p:blipFill>
        <p:spPr>
          <a:xfrm>
            <a:off x="1633733" y="1063948"/>
            <a:ext cx="14483919" cy="90855"/>
          </a:xfrm>
          <a:prstGeom prst="rect">
            <a:avLst/>
          </a:prstGeom>
        </p:spPr>
      </p:pic>
      <p:pic>
        <p:nvPicPr>
          <p:cNvPr id="20" name="Obraz 19">
            <a:extLst>
              <a:ext uri="{FF2B5EF4-FFF2-40B4-BE49-F238E27FC236}">
                <a16:creationId xmlns:a16="http://schemas.microsoft.com/office/drawing/2014/main" id="{65DAE3CF-6856-7DA8-891F-7E5FFC42DADF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24" y="370285"/>
            <a:ext cx="2051348" cy="451735"/>
          </a:xfrm>
          <a:prstGeom prst="rect">
            <a:avLst/>
          </a:prstGeom>
        </p:spPr>
      </p:pic>
      <p:pic>
        <p:nvPicPr>
          <p:cNvPr id="21" name="Obraz 20">
            <a:extLst>
              <a:ext uri="{FF2B5EF4-FFF2-40B4-BE49-F238E27FC236}">
                <a16:creationId xmlns:a16="http://schemas.microsoft.com/office/drawing/2014/main" id="{89AC2B84-9AC8-B404-99EC-40ECA42A0DA2}"/>
              </a:ext>
            </a:extLst>
          </p:cNvPr>
          <p:cNvPicPr>
            <a:picLocks noChangeAspect="1"/>
          </p:cNvPicPr>
          <p:nvPr/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1" t="-2998" r="9208" b="17911"/>
          <a:stretch/>
        </p:blipFill>
        <p:spPr>
          <a:xfrm>
            <a:off x="0" y="7878208"/>
            <a:ext cx="16560799" cy="103883"/>
          </a:xfrm>
          <a:prstGeom prst="rect">
            <a:avLst/>
          </a:prstGeom>
        </p:spPr>
      </p:pic>
      <p:sp>
        <p:nvSpPr>
          <p:cNvPr id="24" name="object 30">
            <a:extLst>
              <a:ext uri="{FF2B5EF4-FFF2-40B4-BE49-F238E27FC236}">
                <a16:creationId xmlns:a16="http://schemas.microsoft.com/office/drawing/2014/main" id="{E24564BC-DE15-119C-72B4-25F0392721B7}"/>
              </a:ext>
            </a:extLst>
          </p:cNvPr>
          <p:cNvSpPr txBox="1"/>
          <p:nvPr/>
        </p:nvSpPr>
        <p:spPr>
          <a:xfrm>
            <a:off x="491927" y="1156514"/>
            <a:ext cx="1295871" cy="627451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 marR="4713" indent="230348">
              <a:spcBef>
                <a:spcPts val="47"/>
              </a:spcBef>
            </a:pPr>
            <a:r>
              <a:rPr lang="pl-PL" sz="4000" spc="74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1</a:t>
            </a:r>
            <a:endParaRPr lang="pl-PL" sz="4000" dirty="0">
              <a:solidFill>
                <a:srgbClr val="BFBFBF"/>
              </a:solidFill>
              <a:latin typeface="Gilroy ExtraBold" panose="00000900000000000000" pitchFamily="50" charset="-18"/>
              <a:cs typeface="Gilroy Light"/>
            </a:endParaRPr>
          </a:p>
        </p:txBody>
      </p:sp>
      <p:sp>
        <p:nvSpPr>
          <p:cNvPr id="25" name="object 79">
            <a:extLst>
              <a:ext uri="{FF2B5EF4-FFF2-40B4-BE49-F238E27FC236}">
                <a16:creationId xmlns:a16="http://schemas.microsoft.com/office/drawing/2014/main" id="{045446E0-8D45-5636-7F04-3DA86978E37B}"/>
              </a:ext>
            </a:extLst>
          </p:cNvPr>
          <p:cNvSpPr txBox="1"/>
          <p:nvPr/>
        </p:nvSpPr>
        <p:spPr>
          <a:xfrm>
            <a:off x="1286426" y="1398709"/>
            <a:ext cx="3372771" cy="319675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>
              <a:spcBef>
                <a:spcPts val="93"/>
              </a:spcBef>
            </a:pPr>
            <a:r>
              <a:rPr lang="pl-PL" sz="2000" b="1" spc="-14" dirty="0">
                <a:cs typeface="Gilroy Light"/>
              </a:rPr>
              <a:t>WYSOKIE CENY GAZU</a:t>
            </a:r>
            <a:endParaRPr lang="pl-PL" sz="2000" spc="-14" dirty="0">
              <a:latin typeface="Gilroy ExtraBold" panose="00000900000000000000" pitchFamily="50" charset="-18"/>
              <a:cs typeface="Gilroy Light"/>
            </a:endParaRPr>
          </a:p>
        </p:txBody>
      </p:sp>
      <p:sp>
        <p:nvSpPr>
          <p:cNvPr id="26" name="pole tekstowe 16">
            <a:extLst>
              <a:ext uri="{FF2B5EF4-FFF2-40B4-BE49-F238E27FC236}">
                <a16:creationId xmlns:a16="http://schemas.microsoft.com/office/drawing/2014/main" id="{1C1BC03E-1C4A-34E4-B6D7-FD8185E211C9}"/>
              </a:ext>
            </a:extLst>
          </p:cNvPr>
          <p:cNvSpPr txBox="1"/>
          <p:nvPr/>
        </p:nvSpPr>
        <p:spPr>
          <a:xfrm>
            <a:off x="3531983" y="242201"/>
            <a:ext cx="11180716" cy="85328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r" rtl="0"/>
            <a:r>
              <a:rPr lang="pl-PL" sz="2400" dirty="0">
                <a:latin typeface="Gilroy Light" panose="00000400000000000000" pitchFamily="50" charset="-18"/>
              </a:rPr>
              <a:t>BRANŻA PŁYTEK CERAMICZNYCH | KLUCZOWE PROBLEMY</a:t>
            </a:r>
          </a:p>
        </p:txBody>
      </p:sp>
      <p:graphicFrame>
        <p:nvGraphicFramePr>
          <p:cNvPr id="28" name="Chart 3">
            <a:extLst>
              <a:ext uri="{FF2B5EF4-FFF2-40B4-BE49-F238E27FC236}">
                <a16:creationId xmlns:a16="http://schemas.microsoft.com/office/drawing/2014/main" id="{8DC388F1-8F57-AD36-AC6F-3DB54B1CB4B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4556369"/>
              </p:ext>
            </p:extLst>
          </p:nvPr>
        </p:nvGraphicFramePr>
        <p:xfrm>
          <a:off x="1458829" y="2136912"/>
          <a:ext cx="14099834" cy="5024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30" name="Symbol zastępczy tekstu 2">
            <a:extLst>
              <a:ext uri="{FF2B5EF4-FFF2-40B4-BE49-F238E27FC236}">
                <a16:creationId xmlns:a16="http://schemas.microsoft.com/office/drawing/2014/main" id="{9E24D6B9-A0B9-552B-A91C-395579ED385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8329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CEB2B2-8361-4469-8513-702CA4CC6C90}" type="datetime'2''''''''''''''''0''''''''''1''4''''''''''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31" name="Symbol zastępczy tekstu 2">
            <a:extLst>
              <a:ext uri="{FF2B5EF4-FFF2-40B4-BE49-F238E27FC236}">
                <a16:creationId xmlns:a16="http://schemas.microsoft.com/office/drawing/2014/main" id="{B388BCA3-53BC-E348-AEC5-877A4DB934D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659197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4D282-6815-4684-8698-72B013394838}" type="datetime'''''''2''''''''''''''''''''''''0''''''''''''''1''''''8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32" name="Symbol zastępczy tekstu 2">
            <a:extLst>
              <a:ext uri="{FF2B5EF4-FFF2-40B4-BE49-F238E27FC236}">
                <a16:creationId xmlns:a16="http://schemas.microsoft.com/office/drawing/2014/main" id="{47F20C75-3BAA-0D5C-F16A-5A66BC954E5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2383930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972BAA-84BB-4422-A1C1-37748B3D40DD}" type="datetime'2''''''0''''''''''''''22''''''''''''''''''''/05''''''''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5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33" name="Symbol zastępczy tekstu 2">
            <a:extLst>
              <a:ext uri="{FF2B5EF4-FFF2-40B4-BE49-F238E27FC236}">
                <a16:creationId xmlns:a16="http://schemas.microsoft.com/office/drawing/2014/main" id="{CD7ED7AC-ED11-CD69-29FF-3D6A02AE9E7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31028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D734AF-BDD0-46DD-99FD-1A8EBDE8A589}" type="datetime'''''''''''''2''0''''''''''''''''''''''''''1''''''''''5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34" name="Symbol zastępczy tekstu 2">
            <a:extLst>
              <a:ext uri="{FF2B5EF4-FFF2-40B4-BE49-F238E27FC236}">
                <a16:creationId xmlns:a16="http://schemas.microsoft.com/office/drawing/2014/main" id="{E7FB33BF-2A16-F239-5103-9F4F06783AF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75453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918093-A275-4CF9-9D45-DCA3E24D637C}" type="datetime'''''''2''1''''Q''1'''''">
              <a:rPr lang="pl-PL" altLang="en-US" sz="1200">
                <a:latin typeface="Gilroy Light" panose="00000400000000000000" pitchFamily="50" charset="-18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Q1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35" name="Symbol zastępczy tekstu 2">
            <a:extLst>
              <a:ext uri="{FF2B5EF4-FFF2-40B4-BE49-F238E27FC236}">
                <a16:creationId xmlns:a16="http://schemas.microsoft.com/office/drawing/2014/main" id="{EA46647F-8771-E9A4-6E49-DB1D82849C1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0841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CB1A39-8976-4332-9F7A-F3BE73F51408}" type="datetime'''''20''''''''2''''''''0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36" name="Symbol zastępczy tekstu 2">
            <a:extLst>
              <a:ext uri="{FF2B5EF4-FFF2-40B4-BE49-F238E27FC236}">
                <a16:creationId xmlns:a16="http://schemas.microsoft.com/office/drawing/2014/main" id="{EBCE63C6-94E5-C7BF-FA13-EBFE1173C32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372663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D6E9CC-A399-40C2-92F9-E961F406934F}" type="datetime'''''''''''''''2''''''''''''''0''''''''''''''''''19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37" name="Symbol zastępczy tekstu 2">
            <a:extLst>
              <a:ext uri="{FF2B5EF4-FFF2-40B4-BE49-F238E27FC236}">
                <a16:creationId xmlns:a16="http://schemas.microsoft.com/office/drawing/2014/main" id="{0DC8FED8-0AF0-64E7-FAA4-1B64163222E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3481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40D4CE-FE71-47DC-ACBF-5818FA3A3AA1}" type="datetime'''''''''''2''''''0''''''1''6''''''''''''''''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38" name="Symbol zastępczy tekstu 2">
            <a:extLst>
              <a:ext uri="{FF2B5EF4-FFF2-40B4-BE49-F238E27FC236}">
                <a16:creationId xmlns:a16="http://schemas.microsoft.com/office/drawing/2014/main" id="{02F8725C-B410-8D9F-895A-B61525D0C33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955961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8100D1-4A49-4481-9001-9F044C5B7883}" type="datetime'''''''''''2''''''''''''''0''''1''''''''''''7''''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39" name="Symbol zastępczy tekstu 2">
            <a:extLst>
              <a:ext uri="{FF2B5EF4-FFF2-40B4-BE49-F238E27FC236}">
                <a16:creationId xmlns:a16="http://schemas.microsoft.com/office/drawing/2014/main" id="{273CA965-E6F8-8AC7-F744-CB63B80C558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202522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05752A-48A0-4FB3-8496-F00487E4ECDA}" type="datetime'''''''''2''''''''''''''''''''''''1''''''''Q''''''''''''''''3'">
              <a:rPr lang="pl-PL" altLang="en-US" sz="1200">
                <a:latin typeface="Gilroy Light" panose="00000400000000000000" pitchFamily="50" charset="-18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Q3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40" name="Symbol zastępczy tekstu 2">
            <a:extLst>
              <a:ext uri="{FF2B5EF4-FFF2-40B4-BE49-F238E27FC236}">
                <a16:creationId xmlns:a16="http://schemas.microsoft.com/office/drawing/2014/main" id="{3B6224C2-0530-E418-BDAA-9B7EDF7EADA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473688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D9D534-2EBF-4445-BA6A-C294BBCF2F6B}" type="datetime'''''''''''''''''''''2''''''''''1''''''''''''''Q''2'''''">
              <a:rPr lang="pl-PL" altLang="en-US" sz="1200">
                <a:latin typeface="Gilroy Light" panose="00000400000000000000" pitchFamily="50" charset="-18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Q2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 useBgFill="1">
        <p:nvSpPr>
          <p:cNvPr id="41" name="Symbol zastępczy tekstu 2">
            <a:extLst>
              <a:ext uri="{FF2B5EF4-FFF2-40B4-BE49-F238E27FC236}">
                <a16:creationId xmlns:a16="http://schemas.microsoft.com/office/drawing/2014/main" id="{46B8C1BF-860C-7946-A0F9-CBCF742A65A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157365" y="5747266"/>
            <a:ext cx="246068" cy="138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90CA8E-88A2-45D7-A908-B73996F4569B}" type="datetime'''''''''23''''''''0'''''''''''''''''''''">
              <a:rPr lang="pl-PL" altLang="en-US" sz="1008">
                <a:solidFill>
                  <a:srgbClr val="C00000"/>
                </a:solidFill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0</a:t>
            </a:fld>
            <a:endParaRPr lang="pl-PL" sz="1008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42" name="Symbol zastępczy tekstu 2">
            <a:extLst>
              <a:ext uri="{FF2B5EF4-FFF2-40B4-BE49-F238E27FC236}">
                <a16:creationId xmlns:a16="http://schemas.microsoft.com/office/drawing/2014/main" id="{9822DE29-D52D-6F66-F637-647BB106F76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1598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81344E-A798-44C6-BEC3-1115928B2DEB}" type="datetime'''''''''''''''''''''''''''''''''''''2''''''''''1Q4'''''''''''">
              <a:rPr lang="pl-PL" altLang="en-US" sz="1200">
                <a:latin typeface="Gilroy Light" panose="00000400000000000000" pitchFamily="50" charset="-18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Q4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43" name="Symbol zastępczy tekstu 2">
            <a:extLst>
              <a:ext uri="{FF2B5EF4-FFF2-40B4-BE49-F238E27FC236}">
                <a16:creationId xmlns:a16="http://schemas.microsoft.com/office/drawing/2014/main" id="{A1F8EEE0-E445-012D-16B5-1A184B41ACC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538243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82E18E-2D65-4D03-AB6D-21CC9EEC4F17}" type="datetime'2''''''0''''''''''''''2''''''''''''2''''''/0''''''8''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8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44" name="Symbol zastępczy tekstu 2">
            <a:extLst>
              <a:ext uri="{FF2B5EF4-FFF2-40B4-BE49-F238E27FC236}">
                <a16:creationId xmlns:a16="http://schemas.microsoft.com/office/drawing/2014/main" id="{57BE064B-6D26-C882-D709-DBA8DC18F0B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526382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49ACBD-34B9-4C44-AFE0-C1386101FD34}" type="datetime'2''0''''''2''2''''''''''''''''''''''''''''/''01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1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 useBgFill="1">
        <p:nvSpPr>
          <p:cNvPr id="45" name="Symbol zastępczy tekstu 2">
            <a:extLst>
              <a:ext uri="{FF2B5EF4-FFF2-40B4-BE49-F238E27FC236}">
                <a16:creationId xmlns:a16="http://schemas.microsoft.com/office/drawing/2014/main" id="{565B9DCE-777E-851B-DAE6-3D5472AE0C3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0256630" y="5108537"/>
            <a:ext cx="246068" cy="138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2DEF4A-BA2E-41AC-827E-38FAECA9495C}" type="datetime'''''''''''''''''3''''''9''9'''''''''''''''''''''''''''''''''">
              <a:rPr lang="pl-PL" altLang="en-US" sz="1008">
                <a:solidFill>
                  <a:srgbClr val="C00000"/>
                </a:solidFill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9</a:t>
            </a:fld>
            <a:endParaRPr lang="pl-PL" sz="1008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46" name="Symbol zastępczy tekstu 2">
            <a:extLst>
              <a:ext uri="{FF2B5EF4-FFF2-40B4-BE49-F238E27FC236}">
                <a16:creationId xmlns:a16="http://schemas.microsoft.com/office/drawing/2014/main" id="{7D991907-DE00-1509-E8F8-01EAB3CBB76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255216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61F4C4-4472-40E3-A1BA-2DBF718DE0FD}" type="datetime'''''2''''0''''2''''''''''''''''''''''''2/''''''0''''2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2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47" name="Symbol zastępczy tekstu 2">
            <a:extLst>
              <a:ext uri="{FF2B5EF4-FFF2-40B4-BE49-F238E27FC236}">
                <a16:creationId xmlns:a16="http://schemas.microsoft.com/office/drawing/2014/main" id="{9F444A9F-AE56-D39E-53E1-A33DB74C1ED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974367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94F068-B358-4A66-9674-62E1D0953D38}" type="datetime'2''''''02''''''''''''''2''''''''/''''''''0''''''''3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3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48" name="Symbol zastępczy tekstu 2">
            <a:extLst>
              <a:ext uri="{FF2B5EF4-FFF2-40B4-BE49-F238E27FC236}">
                <a16:creationId xmlns:a16="http://schemas.microsoft.com/office/drawing/2014/main" id="{96AEFBF2-1877-DFD7-EE2D-F0595E96A77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167246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EB9D94-4F7C-450C-AB39-13684EF36B61}" type="datetime'''20''''''''''''''''''''''''''''''''''''''22''''''/''0''''4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4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 useBgFill="1">
        <p:nvSpPr>
          <p:cNvPr id="49" name="Symbol zastępczy tekstu 2">
            <a:extLst>
              <a:ext uri="{FF2B5EF4-FFF2-40B4-BE49-F238E27FC236}">
                <a16:creationId xmlns:a16="http://schemas.microsoft.com/office/drawing/2014/main" id="{D16AF190-9CC4-0BD4-95E1-F14ECE2D438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3106404" y="4538118"/>
            <a:ext cx="246068" cy="138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78305D-6CEB-4B3B-B801-0C9C89F2A6FF}" type="datetime'''''''''''51''''''''''''''1'''''">
              <a:rPr lang="pl-PL" altLang="en-US" sz="1008">
                <a:solidFill>
                  <a:srgbClr val="C00000"/>
                </a:solidFill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1</a:t>
            </a:fld>
            <a:endParaRPr lang="pl-PL" sz="1008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50" name="Symbol zastępczy tekstu 2">
            <a:extLst>
              <a:ext uri="{FF2B5EF4-FFF2-40B4-BE49-F238E27FC236}">
                <a16:creationId xmlns:a16="http://schemas.microsoft.com/office/drawing/2014/main" id="{324370CD-F91D-3D7D-9B11-E368DA912BA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3105081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6B9DAA-C1DB-4EEC-8B86-F17B68A0B0FF}" type="datetime'''''''2''''''''''''0''''2''''''''2''/''''''0''''''''''''''6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6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 useBgFill="1">
        <p:nvSpPr>
          <p:cNvPr id="51" name="Symbol zastępczy tekstu 2">
            <a:extLst>
              <a:ext uri="{FF2B5EF4-FFF2-40B4-BE49-F238E27FC236}">
                <a16:creationId xmlns:a16="http://schemas.microsoft.com/office/drawing/2014/main" id="{CF351407-FB7F-9155-F71E-C215E20FFB4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3818366" y="3296551"/>
            <a:ext cx="246068" cy="138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082C32-F804-4D2C-8519-2E93ECB67D3E}" type="datetime'''''8''''''''4''''''''''''''9'''''''''''''''''''''''">
              <a:rPr lang="pl-PL" altLang="en-US" sz="1008">
                <a:solidFill>
                  <a:srgbClr val="C00000"/>
                </a:solidFill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9</a:t>
            </a:fld>
            <a:endParaRPr lang="pl-PL" sz="1008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52" name="Symbol zastępczy tekstu 2">
            <a:extLst>
              <a:ext uri="{FF2B5EF4-FFF2-40B4-BE49-F238E27FC236}">
                <a16:creationId xmlns:a16="http://schemas.microsoft.com/office/drawing/2014/main" id="{33BF8968-FED6-BACE-8846-BA2A42362DD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383191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1C2D4D-240B-46C3-AAF6-4C2EF22917CE}" type="datetime'''''''''''''''''''''''''2''0''''2''2''''/0''''7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7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cxnSp>
        <p:nvCxnSpPr>
          <p:cNvPr id="53" name="Łącznik prosty 52">
            <a:extLst>
              <a:ext uri="{FF2B5EF4-FFF2-40B4-BE49-F238E27FC236}">
                <a16:creationId xmlns:a16="http://schemas.microsoft.com/office/drawing/2014/main" id="{A9E158B7-D7FA-4AEF-45A2-50257A130CB1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7646337" y="7673532"/>
            <a:ext cx="156042" cy="0"/>
          </a:xfrm>
          <a:prstGeom prst="line">
            <a:avLst/>
          </a:prstGeom>
          <a:ln w="19050" cap="rnd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Symbol zastępczy tekstu 2">
            <a:extLst>
              <a:ext uri="{FF2B5EF4-FFF2-40B4-BE49-F238E27FC236}">
                <a16:creationId xmlns:a16="http://schemas.microsoft.com/office/drawing/2014/main" id="{370523ED-A17F-2B3C-DA41-8787D778F9F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906975" y="7613515"/>
            <a:ext cx="1619407" cy="36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67B7E6-B072-4456-87A1-EA248CE958E4}" type="datetime'G''a''s'''' P''''ri''ce'' ''- PL''N ''''''''''/'' ''M''W''''h'">
              <a:rPr lang="en-US" altLang="en-US" sz="1200">
                <a:latin typeface="Gilroy ExtraBold" panose="00000900000000000000" pitchFamily="50" charset="-18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Gas Price - PLN / MWh</a:t>
            </a:fld>
            <a:endParaRPr lang="pl-PL" sz="1200" dirty="0">
              <a:latin typeface="Gilroy ExtraBold" panose="000009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55" name="Owal 54">
            <a:extLst>
              <a:ext uri="{FF2B5EF4-FFF2-40B4-BE49-F238E27FC236}">
                <a16:creationId xmlns:a16="http://schemas.microsoft.com/office/drawing/2014/main" id="{38D26B48-A12B-DE55-F9BA-8F7A135DB33D}"/>
              </a:ext>
            </a:extLst>
          </p:cNvPr>
          <p:cNvSpPr/>
          <p:nvPr/>
        </p:nvSpPr>
        <p:spPr>
          <a:xfrm>
            <a:off x="15085103" y="3031329"/>
            <a:ext cx="747477" cy="747477"/>
          </a:xfrm>
          <a:prstGeom prst="ellipse">
            <a:avLst/>
          </a:prstGeom>
          <a:gradFill flip="none" rotWithShape="1">
            <a:gsLst>
              <a:gs pos="0">
                <a:srgbClr val="FF0009">
                  <a:shade val="30000"/>
                  <a:satMod val="115000"/>
                </a:srgbClr>
              </a:gs>
              <a:gs pos="50000">
                <a:srgbClr val="FF0009">
                  <a:shade val="67500"/>
                  <a:satMod val="115000"/>
                </a:srgbClr>
              </a:gs>
              <a:gs pos="100000">
                <a:srgbClr val="FF0009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defRPr lang="en-US" sz="1000" b="0" i="0" u="none" strike="noStrike" kern="1200" baseline="0">
                <a:solidFill>
                  <a:srgbClr val="C00000"/>
                </a:solidFill>
                <a:latin typeface="Gilroy ExtraBold" panose="00000900000000000000" pitchFamily="50" charset="-18"/>
                <a:ea typeface="+mn-ea"/>
                <a:cs typeface="+mn-cs"/>
              </a:defRPr>
            </a:pPr>
            <a:r>
              <a:rPr lang="pl-PL" dirty="0">
                <a:solidFill>
                  <a:schemeClr val="bg1"/>
                </a:solidFill>
                <a:latin typeface="Gilroy ExtraBold" panose="00000900000000000000" pitchFamily="50" charset="-18"/>
              </a:rPr>
              <a:t>920</a:t>
            </a:r>
            <a:endParaRPr lang="en-US" dirty="0">
              <a:solidFill>
                <a:schemeClr val="bg1"/>
              </a:solidFill>
              <a:latin typeface="Gilroy ExtraBold" panose="00000900000000000000" pitchFamily="50" charset="-18"/>
            </a:endParaRPr>
          </a:p>
        </p:txBody>
      </p:sp>
      <p:grpSp>
        <p:nvGrpSpPr>
          <p:cNvPr id="59" name="Grupa 58">
            <a:extLst>
              <a:ext uri="{FF2B5EF4-FFF2-40B4-BE49-F238E27FC236}">
                <a16:creationId xmlns:a16="http://schemas.microsoft.com/office/drawing/2014/main" id="{A015087D-732C-C39E-D1F0-1D3B10EA8814}"/>
              </a:ext>
            </a:extLst>
          </p:cNvPr>
          <p:cNvGrpSpPr/>
          <p:nvPr/>
        </p:nvGrpSpPr>
        <p:grpSpPr>
          <a:xfrm>
            <a:off x="2129011" y="2030355"/>
            <a:ext cx="2696247" cy="2696247"/>
            <a:chOff x="2129011" y="2619195"/>
            <a:chExt cx="2696247" cy="2696247"/>
          </a:xfrm>
        </p:grpSpPr>
        <p:sp>
          <p:nvSpPr>
            <p:cNvPr id="12" name="Owal 11">
              <a:extLst>
                <a:ext uri="{FF2B5EF4-FFF2-40B4-BE49-F238E27FC236}">
                  <a16:creationId xmlns:a16="http://schemas.microsoft.com/office/drawing/2014/main" id="{AA4CF866-77A8-8F87-3603-D9D690CACD05}"/>
                </a:ext>
              </a:extLst>
            </p:cNvPr>
            <p:cNvSpPr/>
            <p:nvPr/>
          </p:nvSpPr>
          <p:spPr>
            <a:xfrm>
              <a:off x="2363510" y="2859713"/>
              <a:ext cx="2216757" cy="2216757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pic>
          <p:nvPicPr>
            <p:cNvPr id="13" name="Obraz 12">
              <a:extLst>
                <a:ext uri="{FF2B5EF4-FFF2-40B4-BE49-F238E27FC236}">
                  <a16:creationId xmlns:a16="http://schemas.microsoft.com/office/drawing/2014/main" id="{AD81844B-D367-2907-0356-453BBE97B8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129011" y="2619195"/>
              <a:ext cx="2696247" cy="2696247"/>
            </a:xfrm>
            <a:prstGeom prst="rect">
              <a:avLst/>
            </a:prstGeom>
          </p:spPr>
        </p:pic>
        <p:sp>
          <p:nvSpPr>
            <p:cNvPr id="14" name="object 79">
              <a:extLst>
                <a:ext uri="{FF2B5EF4-FFF2-40B4-BE49-F238E27FC236}">
                  <a16:creationId xmlns:a16="http://schemas.microsoft.com/office/drawing/2014/main" id="{A210CF1B-9D15-4946-635F-6EC42F5B06AD}"/>
                </a:ext>
              </a:extLst>
            </p:cNvPr>
            <p:cNvSpPr txBox="1"/>
            <p:nvPr/>
          </p:nvSpPr>
          <p:spPr>
            <a:xfrm>
              <a:off x="2742434" y="3811937"/>
              <a:ext cx="1418166" cy="381230"/>
            </a:xfrm>
            <a:prstGeom prst="rect">
              <a:avLst/>
            </a:prstGeom>
          </p:spPr>
          <p:txBody>
            <a:bodyPr vert="horz" wrap="square" lIns="0" tIns="11783" rIns="0" bIns="0" rtlCol="0">
              <a:spAutoFit/>
            </a:bodyPr>
            <a:lstStyle/>
            <a:p>
              <a:pPr marL="11783" algn="ctr">
                <a:spcBef>
                  <a:spcPts val="93"/>
                </a:spcBef>
              </a:pPr>
              <a:r>
                <a:rPr lang="pl-PL" sz="1200" spc="-14" dirty="0">
                  <a:latin typeface="Gilroy ExtraBold" panose="00000900000000000000" pitchFamily="50" charset="-18"/>
                  <a:cs typeface="Gilroy Light"/>
                </a:rPr>
                <a:t>Brak planu UE dla przemysłu</a:t>
              </a:r>
            </a:p>
          </p:txBody>
        </p:sp>
      </p:grpSp>
      <p:grpSp>
        <p:nvGrpSpPr>
          <p:cNvPr id="60" name="Grupa 59">
            <a:extLst>
              <a:ext uri="{FF2B5EF4-FFF2-40B4-BE49-F238E27FC236}">
                <a16:creationId xmlns:a16="http://schemas.microsoft.com/office/drawing/2014/main" id="{6AA62F6A-26E1-585D-B691-CE80FE9503FF}"/>
              </a:ext>
            </a:extLst>
          </p:cNvPr>
          <p:cNvGrpSpPr/>
          <p:nvPr/>
        </p:nvGrpSpPr>
        <p:grpSpPr>
          <a:xfrm>
            <a:off x="4883699" y="2037592"/>
            <a:ext cx="2696247" cy="2696247"/>
            <a:chOff x="4558724" y="2626432"/>
            <a:chExt cx="2696247" cy="2696247"/>
          </a:xfrm>
        </p:grpSpPr>
        <p:sp>
          <p:nvSpPr>
            <p:cNvPr id="9" name="Owal 8">
              <a:extLst>
                <a:ext uri="{FF2B5EF4-FFF2-40B4-BE49-F238E27FC236}">
                  <a16:creationId xmlns:a16="http://schemas.microsoft.com/office/drawing/2014/main" id="{3C1444D9-89DD-A594-35DB-E23DBE4A6AE2}"/>
                </a:ext>
              </a:extLst>
            </p:cNvPr>
            <p:cNvSpPr/>
            <p:nvPr/>
          </p:nvSpPr>
          <p:spPr>
            <a:xfrm>
              <a:off x="4798470" y="2865384"/>
              <a:ext cx="2216757" cy="2216757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pic>
          <p:nvPicPr>
            <p:cNvPr id="10" name="Obraz 9">
              <a:extLst>
                <a:ext uri="{FF2B5EF4-FFF2-40B4-BE49-F238E27FC236}">
                  <a16:creationId xmlns:a16="http://schemas.microsoft.com/office/drawing/2014/main" id="{A353D6E9-89E8-7635-06DD-06CE99B320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58724" y="2626432"/>
              <a:ext cx="2696247" cy="2696247"/>
            </a:xfrm>
            <a:prstGeom prst="rect">
              <a:avLst/>
            </a:prstGeom>
          </p:spPr>
        </p:pic>
        <p:sp>
          <p:nvSpPr>
            <p:cNvPr id="56" name="object 79">
              <a:extLst>
                <a:ext uri="{FF2B5EF4-FFF2-40B4-BE49-F238E27FC236}">
                  <a16:creationId xmlns:a16="http://schemas.microsoft.com/office/drawing/2014/main" id="{BFA77052-F1C4-3A93-24CA-E0C2CB564376}"/>
                </a:ext>
              </a:extLst>
            </p:cNvPr>
            <p:cNvSpPr txBox="1"/>
            <p:nvPr/>
          </p:nvSpPr>
          <p:spPr>
            <a:xfrm>
              <a:off x="5182639" y="3811937"/>
              <a:ext cx="1418166" cy="381230"/>
            </a:xfrm>
            <a:prstGeom prst="rect">
              <a:avLst/>
            </a:prstGeom>
          </p:spPr>
          <p:txBody>
            <a:bodyPr vert="horz" wrap="square" lIns="0" tIns="11783" rIns="0" bIns="0" rtlCol="0">
              <a:spAutoFit/>
            </a:bodyPr>
            <a:lstStyle/>
            <a:p>
              <a:pPr marL="11783" algn="ctr">
                <a:spcBef>
                  <a:spcPts val="93"/>
                </a:spcBef>
              </a:pPr>
              <a:r>
                <a:rPr lang="pl-PL" sz="1200" spc="-14" dirty="0">
                  <a:latin typeface="Gilroy ExtraBold" panose="00000900000000000000" pitchFamily="50" charset="-18"/>
                  <a:cs typeface="Gilroy Light"/>
                </a:rPr>
                <a:t>Cena CAP dla gazu ziemnego</a:t>
              </a:r>
            </a:p>
          </p:txBody>
        </p:sp>
      </p:grpSp>
      <p:grpSp>
        <p:nvGrpSpPr>
          <p:cNvPr id="62" name="Grupa 61">
            <a:extLst>
              <a:ext uri="{FF2B5EF4-FFF2-40B4-BE49-F238E27FC236}">
                <a16:creationId xmlns:a16="http://schemas.microsoft.com/office/drawing/2014/main" id="{4A27252A-FC53-7A69-86FC-350D89026B73}"/>
              </a:ext>
            </a:extLst>
          </p:cNvPr>
          <p:cNvGrpSpPr/>
          <p:nvPr/>
        </p:nvGrpSpPr>
        <p:grpSpPr>
          <a:xfrm>
            <a:off x="7648881" y="2030355"/>
            <a:ext cx="2696247" cy="2696247"/>
            <a:chOff x="6998931" y="2619195"/>
            <a:chExt cx="2696247" cy="2696247"/>
          </a:xfrm>
        </p:grpSpPr>
        <p:sp>
          <p:nvSpPr>
            <p:cNvPr id="11" name="Owal 10">
              <a:extLst>
                <a:ext uri="{FF2B5EF4-FFF2-40B4-BE49-F238E27FC236}">
                  <a16:creationId xmlns:a16="http://schemas.microsoft.com/office/drawing/2014/main" id="{BFB4C9DD-3993-6934-42E6-8211F5632E2A}"/>
                </a:ext>
              </a:extLst>
            </p:cNvPr>
            <p:cNvSpPr/>
            <p:nvPr/>
          </p:nvSpPr>
          <p:spPr>
            <a:xfrm>
              <a:off x="7238677" y="2865384"/>
              <a:ext cx="2216757" cy="2216757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pic>
          <p:nvPicPr>
            <p:cNvPr id="27" name="Obraz 26">
              <a:extLst>
                <a:ext uri="{FF2B5EF4-FFF2-40B4-BE49-F238E27FC236}">
                  <a16:creationId xmlns:a16="http://schemas.microsoft.com/office/drawing/2014/main" id="{A67D5140-9533-6697-6863-E329707937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998931" y="2619195"/>
              <a:ext cx="2696247" cy="2696247"/>
            </a:xfrm>
            <a:prstGeom prst="rect">
              <a:avLst/>
            </a:prstGeom>
          </p:spPr>
        </p:pic>
        <p:sp>
          <p:nvSpPr>
            <p:cNvPr id="57" name="object 79">
              <a:extLst>
                <a:ext uri="{FF2B5EF4-FFF2-40B4-BE49-F238E27FC236}">
                  <a16:creationId xmlns:a16="http://schemas.microsoft.com/office/drawing/2014/main" id="{46E0D56F-E536-8F19-0B4B-019B08F0A36E}"/>
                </a:ext>
              </a:extLst>
            </p:cNvPr>
            <p:cNvSpPr txBox="1"/>
            <p:nvPr/>
          </p:nvSpPr>
          <p:spPr>
            <a:xfrm>
              <a:off x="7617600" y="3811937"/>
              <a:ext cx="1418166" cy="381230"/>
            </a:xfrm>
            <a:prstGeom prst="rect">
              <a:avLst/>
            </a:prstGeom>
          </p:spPr>
          <p:txBody>
            <a:bodyPr vert="horz" wrap="square" lIns="0" tIns="11783" rIns="0" bIns="0" rtlCol="0">
              <a:spAutoFit/>
            </a:bodyPr>
            <a:lstStyle/>
            <a:p>
              <a:pPr algn="ctr"/>
              <a:r>
                <a:rPr lang="pl-PL" sz="1200" b="1" dirty="0">
                  <a:latin typeface="Gilroy ExtraBold" pitchFamily="2" charset="0"/>
                </a:rPr>
                <a:t>Wsparcie UE i rządu RP</a:t>
              </a:r>
            </a:p>
          </p:txBody>
        </p:sp>
      </p:grpSp>
      <p:sp useBgFill="1">
        <p:nvSpPr>
          <p:cNvPr id="3" name="Symbol zastępczy tekstu 2">
            <a:extLst>
              <a:ext uri="{FF2B5EF4-FFF2-40B4-BE49-F238E27FC236}">
                <a16:creationId xmlns:a16="http://schemas.microsoft.com/office/drawing/2014/main" id="{A301B571-7BB7-09A0-F365-11B49857207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4493797" y="2353158"/>
            <a:ext cx="246068" cy="138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l-PL" altLang="en-US" sz="1008" dirty="0">
                <a:solidFill>
                  <a:srgbClr val="C00000"/>
                </a:solidFill>
                <a:latin typeface="Gilroy Light" panose="00000400000000000000" pitchFamily="50" charset="-18"/>
                <a:sym typeface="Century Gothic" panose="020B0502020202020204" pitchFamily="34" charset="0"/>
              </a:rPr>
              <a:t>1129</a:t>
            </a:r>
            <a:endParaRPr lang="pl-PL" sz="1008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4" name="Symbol zastępczy tekstu 2">
            <a:extLst>
              <a:ext uri="{FF2B5EF4-FFF2-40B4-BE49-F238E27FC236}">
                <a16:creationId xmlns:a16="http://schemas.microsoft.com/office/drawing/2014/main" id="{36FAAFA8-D6CC-DC1D-81AB-A1567692283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5233906" y="7253106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l-PL" altLang="en-US" sz="1200" dirty="0">
                <a:latin typeface="Gilroy Light" panose="00000400000000000000" pitchFamily="50" charset="-18"/>
                <a:sym typeface="Century Gothic" panose="020B0502020202020204" pitchFamily="34" charset="0"/>
              </a:rPr>
              <a:t>2022/09</a:t>
            </a: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D50C9DC6-566C-13C4-2CEB-C130563747A4}"/>
              </a:ext>
            </a:extLst>
          </p:cNvPr>
          <p:cNvSpPr txBox="1"/>
          <p:nvPr/>
        </p:nvSpPr>
        <p:spPr>
          <a:xfrm>
            <a:off x="11466501" y="6235952"/>
            <a:ext cx="4517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/>
              <a:t>Obecna cena: 243,97 PLN/MWh, dane z TGE,</a:t>
            </a:r>
          </a:p>
          <a:p>
            <a:r>
              <a:rPr lang="pl-PL" b="1" dirty="0"/>
              <a:t>na dzień 19.02.2023r.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64733111-A5DC-9C9C-3FF5-19C937F4B325}"/>
              </a:ext>
            </a:extLst>
          </p:cNvPr>
          <p:cNvSpPr txBox="1"/>
          <p:nvPr/>
        </p:nvSpPr>
        <p:spPr>
          <a:xfrm>
            <a:off x="11466501" y="5885304"/>
            <a:ext cx="2651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/>
              <a:t>Wzrost 12-krotny</a:t>
            </a:r>
          </a:p>
        </p:txBody>
      </p:sp>
    </p:spTree>
    <p:extLst>
      <p:ext uri="{BB962C8B-B14F-4D97-AF65-F5344CB8AC3E}">
        <p14:creationId xmlns:p14="http://schemas.microsoft.com/office/powerpoint/2010/main" val="31209555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C5FACCBB-6994-4084-B7B4-BDE597DA8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5" imgH="416" progId="TCLayout.ActiveDocument.1">
                  <p:embed/>
                </p:oleObj>
              </mc:Choice>
              <mc:Fallback>
                <p:oleObj name="think-cell Slide" r:id="rId29" imgW="415" imgH="41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C5FACCBB-6994-4084-B7B4-BDE597DA8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Obraz 21">
            <a:extLst>
              <a:ext uri="{FF2B5EF4-FFF2-40B4-BE49-F238E27FC236}">
                <a16:creationId xmlns:a16="http://schemas.microsoft.com/office/drawing/2014/main" id="{6606AAF4-A9F3-D123-3589-35F91C535333}"/>
              </a:ext>
            </a:extLst>
          </p:cNvPr>
          <p:cNvPicPr>
            <a:picLocks noChangeAspect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64" b="32234"/>
          <a:stretch/>
        </p:blipFill>
        <p:spPr>
          <a:xfrm>
            <a:off x="1633733" y="1063948"/>
            <a:ext cx="14483919" cy="90855"/>
          </a:xfrm>
          <a:prstGeom prst="rect">
            <a:avLst/>
          </a:prstGeom>
        </p:spPr>
      </p:pic>
      <p:pic>
        <p:nvPicPr>
          <p:cNvPr id="23" name="Obraz 22">
            <a:extLst>
              <a:ext uri="{FF2B5EF4-FFF2-40B4-BE49-F238E27FC236}">
                <a16:creationId xmlns:a16="http://schemas.microsoft.com/office/drawing/2014/main" id="{8BF4C95F-BE67-0DDF-E02E-575A0B87DD81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24" y="370285"/>
            <a:ext cx="2051348" cy="451735"/>
          </a:xfrm>
          <a:prstGeom prst="rect">
            <a:avLst/>
          </a:prstGeom>
        </p:spPr>
      </p:pic>
      <p:pic>
        <p:nvPicPr>
          <p:cNvPr id="24" name="Obraz 23">
            <a:extLst>
              <a:ext uri="{FF2B5EF4-FFF2-40B4-BE49-F238E27FC236}">
                <a16:creationId xmlns:a16="http://schemas.microsoft.com/office/drawing/2014/main" id="{E1289A76-9FB8-172C-1588-B4B4C83299C0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1" t="-2998" r="9208" b="17911"/>
          <a:stretch/>
        </p:blipFill>
        <p:spPr>
          <a:xfrm>
            <a:off x="0" y="7878208"/>
            <a:ext cx="16560799" cy="103883"/>
          </a:xfrm>
          <a:prstGeom prst="rect">
            <a:avLst/>
          </a:prstGeom>
        </p:spPr>
      </p:pic>
      <p:sp>
        <p:nvSpPr>
          <p:cNvPr id="27" name="object 30">
            <a:extLst>
              <a:ext uri="{FF2B5EF4-FFF2-40B4-BE49-F238E27FC236}">
                <a16:creationId xmlns:a16="http://schemas.microsoft.com/office/drawing/2014/main" id="{F1475133-8E0D-92DC-435A-8997D0FFDBA8}"/>
              </a:ext>
            </a:extLst>
          </p:cNvPr>
          <p:cNvSpPr txBox="1"/>
          <p:nvPr/>
        </p:nvSpPr>
        <p:spPr>
          <a:xfrm>
            <a:off x="504704" y="1135790"/>
            <a:ext cx="1295871" cy="627451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 marR="4713" indent="230348">
              <a:spcBef>
                <a:spcPts val="47"/>
              </a:spcBef>
            </a:pPr>
            <a:r>
              <a:rPr lang="pl-PL" sz="4000" spc="74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2</a:t>
            </a:r>
            <a:endParaRPr lang="pl-PL" sz="4000" dirty="0">
              <a:solidFill>
                <a:srgbClr val="BFBFBF"/>
              </a:solidFill>
              <a:latin typeface="Gilroy ExtraBold" panose="00000900000000000000" pitchFamily="50" charset="-18"/>
              <a:cs typeface="Gilroy Light"/>
            </a:endParaRPr>
          </a:p>
        </p:txBody>
      </p:sp>
      <p:sp>
        <p:nvSpPr>
          <p:cNvPr id="28" name="object 79">
            <a:extLst>
              <a:ext uri="{FF2B5EF4-FFF2-40B4-BE49-F238E27FC236}">
                <a16:creationId xmlns:a16="http://schemas.microsoft.com/office/drawing/2014/main" id="{01AF504C-4CD2-799D-737E-E37E4D5264EC}"/>
              </a:ext>
            </a:extLst>
          </p:cNvPr>
          <p:cNvSpPr txBox="1"/>
          <p:nvPr/>
        </p:nvSpPr>
        <p:spPr>
          <a:xfrm>
            <a:off x="1286426" y="1408890"/>
            <a:ext cx="4086237" cy="319675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>
              <a:spcBef>
                <a:spcPts val="93"/>
              </a:spcBef>
            </a:pPr>
            <a:r>
              <a:rPr lang="pl-PL" sz="2000" b="1" spc="-14" dirty="0">
                <a:cs typeface="Gilroy Light"/>
              </a:rPr>
              <a:t>WYSOKIE CENY ENERGII ELEKTRYCZNEJ</a:t>
            </a:r>
            <a:endParaRPr lang="pl-PL" sz="2000" spc="-14" dirty="0">
              <a:latin typeface="Gilroy ExtraBold" panose="00000900000000000000" pitchFamily="50" charset="-18"/>
              <a:cs typeface="Gilroy Light"/>
            </a:endParaRPr>
          </a:p>
        </p:txBody>
      </p:sp>
      <p:graphicFrame>
        <p:nvGraphicFramePr>
          <p:cNvPr id="31" name="Chart 3">
            <a:extLst>
              <a:ext uri="{FF2B5EF4-FFF2-40B4-BE49-F238E27FC236}">
                <a16:creationId xmlns:a16="http://schemas.microsoft.com/office/drawing/2014/main" id="{C71E1608-DD7B-DAFB-4CBB-F179742F441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7492759"/>
              </p:ext>
            </p:extLst>
          </p:nvPr>
        </p:nvGraphicFramePr>
        <p:xfrm>
          <a:off x="1458418" y="2209240"/>
          <a:ext cx="14099834" cy="4928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 useBgFill="1">
        <p:nvSpPr>
          <p:cNvPr id="44" name="Symbol zastępczy tekstu 2">
            <a:extLst>
              <a:ext uri="{FF2B5EF4-FFF2-40B4-BE49-F238E27FC236}">
                <a16:creationId xmlns:a16="http://schemas.microsoft.com/office/drawing/2014/main" id="{37ACA3FA-43D3-F969-5B64-4AE5E36655A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874174" y="5586291"/>
            <a:ext cx="204918" cy="124399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D19C92-1AFE-477A-A86D-8EA43C65FF5E}" type="datetime'''''''''''''''''''''''''''''32''''''''''''5'">
              <a:rPr lang="pl-PL" altLang="en-US" sz="1000">
                <a:solidFill>
                  <a:srgbClr val="C00000"/>
                </a:solidFill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5</a:t>
            </a:fld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 useBgFill="1">
        <p:nvSpPr>
          <p:cNvPr id="50" name="Symbol zastępczy tekstu 2">
            <a:extLst>
              <a:ext uri="{FF2B5EF4-FFF2-40B4-BE49-F238E27FC236}">
                <a16:creationId xmlns:a16="http://schemas.microsoft.com/office/drawing/2014/main" id="{32D859A7-7144-5FF0-5A69-6F742837248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3098854" y="3769784"/>
            <a:ext cx="246068" cy="138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DEDD88-1317-4189-84D5-6DDB7166111B}" type="datetime'8''''''''''''''''''8''''''''''''''''''''5'''''''''''''">
              <a:rPr lang="pl-PL" altLang="en-US" sz="1000">
                <a:solidFill>
                  <a:srgbClr val="C00000"/>
                </a:solidFill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85</a:t>
            </a:fld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cxnSp>
        <p:nvCxnSpPr>
          <p:cNvPr id="54" name="Łącznik prosty 53">
            <a:extLst>
              <a:ext uri="{FF2B5EF4-FFF2-40B4-BE49-F238E27FC236}">
                <a16:creationId xmlns:a16="http://schemas.microsoft.com/office/drawing/2014/main" id="{E9DE6C13-BD84-61BE-2DD2-A844F8AA4C02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7533800" y="7673687"/>
            <a:ext cx="156042" cy="0"/>
          </a:xfrm>
          <a:prstGeom prst="line">
            <a:avLst/>
          </a:prstGeom>
          <a:ln w="19050" cap="rnd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Symbol zastępczy tekstu 2">
            <a:extLst>
              <a:ext uri="{FF2B5EF4-FFF2-40B4-BE49-F238E27FC236}">
                <a16:creationId xmlns:a16="http://schemas.microsoft.com/office/drawing/2014/main" id="{313CFF21-DA33-9733-FC76-14EFB8DAFB1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765863" y="7613670"/>
            <a:ext cx="1382377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06CE249-66EF-4095-967E-DF8F64D01A3F}" type="datetime'E''l''''ec''t''ri''''c''ity Price -'''' ''PLN/''MW''''''h'''''">
              <a:rPr lang="en-US" altLang="en-US" sz="1200" smtClean="0">
                <a:latin typeface="Gilroy ExtraBold" panose="00000900000000000000" pitchFamily="50" charset="-18"/>
              </a:rPr>
              <a:pPr/>
              <a:t>Electricity Price - PLN/MWh</a:t>
            </a:fld>
            <a:endParaRPr lang="pl-PL" sz="1200" dirty="0">
              <a:latin typeface="Gilroy ExtraBold" panose="000009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56" name="Owal 55">
            <a:extLst>
              <a:ext uri="{FF2B5EF4-FFF2-40B4-BE49-F238E27FC236}">
                <a16:creationId xmlns:a16="http://schemas.microsoft.com/office/drawing/2014/main" id="{7F0248B0-E5A9-5979-1F48-BAB52637A4F2}"/>
              </a:ext>
            </a:extLst>
          </p:cNvPr>
          <p:cNvSpPr/>
          <p:nvPr/>
        </p:nvSpPr>
        <p:spPr>
          <a:xfrm>
            <a:off x="14986091" y="3766008"/>
            <a:ext cx="747477" cy="747477"/>
          </a:xfrm>
          <a:prstGeom prst="ellipse">
            <a:avLst/>
          </a:prstGeom>
          <a:gradFill flip="none" rotWithShape="1">
            <a:gsLst>
              <a:gs pos="0">
                <a:srgbClr val="FF0009">
                  <a:shade val="30000"/>
                  <a:satMod val="115000"/>
                </a:srgbClr>
              </a:gs>
              <a:gs pos="50000">
                <a:srgbClr val="FF0009">
                  <a:shade val="67500"/>
                  <a:satMod val="115000"/>
                </a:srgbClr>
              </a:gs>
              <a:gs pos="100000">
                <a:srgbClr val="FF0009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defRPr lang="en-US" sz="1000" b="0" i="0" u="none" strike="noStrike" kern="1200" baseline="0">
                <a:solidFill>
                  <a:srgbClr val="C00000"/>
                </a:solidFill>
                <a:latin typeface="Gilroy ExtraBold" panose="00000900000000000000" pitchFamily="50" charset="-18"/>
                <a:ea typeface="+mn-ea"/>
                <a:cs typeface="+mn-cs"/>
              </a:defRPr>
            </a:pPr>
            <a:r>
              <a:rPr lang="pl-PL" dirty="0">
                <a:solidFill>
                  <a:schemeClr val="bg1"/>
                </a:solidFill>
                <a:latin typeface="Gilroy ExtraBold" panose="00000900000000000000" pitchFamily="50" charset="-18"/>
              </a:rPr>
              <a:t>849</a:t>
            </a:r>
            <a:endParaRPr lang="en-US" dirty="0">
              <a:solidFill>
                <a:schemeClr val="bg1"/>
              </a:solidFill>
              <a:latin typeface="Gilroy ExtraBold" panose="00000900000000000000" pitchFamily="50" charset="-18"/>
            </a:endParaRPr>
          </a:p>
        </p:txBody>
      </p:sp>
      <p:sp>
        <p:nvSpPr>
          <p:cNvPr id="58" name="pole tekstowe 16">
            <a:extLst>
              <a:ext uri="{FF2B5EF4-FFF2-40B4-BE49-F238E27FC236}">
                <a16:creationId xmlns:a16="http://schemas.microsoft.com/office/drawing/2014/main" id="{E3351ADE-8716-82A9-76F0-615B7F9CAA69}"/>
              </a:ext>
            </a:extLst>
          </p:cNvPr>
          <p:cNvSpPr txBox="1"/>
          <p:nvPr/>
        </p:nvSpPr>
        <p:spPr>
          <a:xfrm>
            <a:off x="3531983" y="242201"/>
            <a:ext cx="11180716" cy="85328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r" rtl="0"/>
            <a:r>
              <a:rPr lang="pl-PL" sz="2400" dirty="0">
                <a:latin typeface="Gilroy Light" panose="00000400000000000000" pitchFamily="50" charset="-18"/>
              </a:rPr>
              <a:t>BRANŻA PŁYTEK CERAMICZNYCH | KLUCZOWE PROBLEMY</a:t>
            </a:r>
          </a:p>
        </p:txBody>
      </p:sp>
      <p:grpSp>
        <p:nvGrpSpPr>
          <p:cNvPr id="3" name="Grupa 2">
            <a:extLst>
              <a:ext uri="{FF2B5EF4-FFF2-40B4-BE49-F238E27FC236}">
                <a16:creationId xmlns:a16="http://schemas.microsoft.com/office/drawing/2014/main" id="{2492EDFE-DEC4-A6BC-5E7E-3710E82BAE69}"/>
              </a:ext>
            </a:extLst>
          </p:cNvPr>
          <p:cNvGrpSpPr/>
          <p:nvPr/>
        </p:nvGrpSpPr>
        <p:grpSpPr>
          <a:xfrm>
            <a:off x="2259031" y="2048042"/>
            <a:ext cx="2696247" cy="2696247"/>
            <a:chOff x="2129011" y="2619195"/>
            <a:chExt cx="2696247" cy="2696247"/>
          </a:xfrm>
        </p:grpSpPr>
        <p:sp>
          <p:nvSpPr>
            <p:cNvPr id="4" name="Owal 3">
              <a:extLst>
                <a:ext uri="{FF2B5EF4-FFF2-40B4-BE49-F238E27FC236}">
                  <a16:creationId xmlns:a16="http://schemas.microsoft.com/office/drawing/2014/main" id="{44B39FFF-123F-4986-5D95-2EE64A3D225A}"/>
                </a:ext>
              </a:extLst>
            </p:cNvPr>
            <p:cNvSpPr/>
            <p:nvPr/>
          </p:nvSpPr>
          <p:spPr>
            <a:xfrm>
              <a:off x="2363510" y="2859713"/>
              <a:ext cx="2216757" cy="2216757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pic>
          <p:nvPicPr>
            <p:cNvPr id="5" name="Obraz 4">
              <a:extLst>
                <a:ext uri="{FF2B5EF4-FFF2-40B4-BE49-F238E27FC236}">
                  <a16:creationId xmlns:a16="http://schemas.microsoft.com/office/drawing/2014/main" id="{733EC3D7-75B0-1A36-8610-EFEB2B2F9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129011" y="2619195"/>
              <a:ext cx="2696247" cy="2696247"/>
            </a:xfrm>
            <a:prstGeom prst="rect">
              <a:avLst/>
            </a:prstGeom>
          </p:spPr>
        </p:pic>
        <p:sp>
          <p:nvSpPr>
            <p:cNvPr id="6" name="object 79">
              <a:extLst>
                <a:ext uri="{FF2B5EF4-FFF2-40B4-BE49-F238E27FC236}">
                  <a16:creationId xmlns:a16="http://schemas.microsoft.com/office/drawing/2014/main" id="{97395EE8-770F-7A9A-10BB-59CCE52BC345}"/>
                </a:ext>
              </a:extLst>
            </p:cNvPr>
            <p:cNvSpPr txBox="1"/>
            <p:nvPr/>
          </p:nvSpPr>
          <p:spPr>
            <a:xfrm>
              <a:off x="2742434" y="3811937"/>
              <a:ext cx="1418166" cy="381230"/>
            </a:xfrm>
            <a:prstGeom prst="rect">
              <a:avLst/>
            </a:prstGeom>
          </p:spPr>
          <p:txBody>
            <a:bodyPr vert="horz" wrap="square" lIns="0" tIns="11783" rIns="0" bIns="0" rtlCol="0">
              <a:spAutoFit/>
            </a:bodyPr>
            <a:lstStyle/>
            <a:p>
              <a:pPr marL="11783" algn="ctr">
                <a:spcBef>
                  <a:spcPts val="93"/>
                </a:spcBef>
              </a:pPr>
              <a:r>
                <a:rPr lang="pl-PL" sz="1200" spc="-14" dirty="0">
                  <a:latin typeface="Gilroy ExtraBold" panose="00000900000000000000" pitchFamily="50" charset="-18"/>
                  <a:cs typeface="Gilroy Light"/>
                </a:rPr>
                <a:t>Brak planu UE dla przemysłu</a:t>
              </a:r>
            </a:p>
          </p:txBody>
        </p:sp>
      </p:grpSp>
      <p:grpSp>
        <p:nvGrpSpPr>
          <p:cNvPr id="7" name="Grupa 6">
            <a:extLst>
              <a:ext uri="{FF2B5EF4-FFF2-40B4-BE49-F238E27FC236}">
                <a16:creationId xmlns:a16="http://schemas.microsoft.com/office/drawing/2014/main" id="{AD5054CB-590C-9175-64CE-40219516AB51}"/>
              </a:ext>
            </a:extLst>
          </p:cNvPr>
          <p:cNvGrpSpPr/>
          <p:nvPr/>
        </p:nvGrpSpPr>
        <p:grpSpPr>
          <a:xfrm>
            <a:off x="4883699" y="2037592"/>
            <a:ext cx="2696247" cy="2696247"/>
            <a:chOff x="4558724" y="2626432"/>
            <a:chExt cx="2696247" cy="2696247"/>
          </a:xfrm>
        </p:grpSpPr>
        <p:sp>
          <p:nvSpPr>
            <p:cNvPr id="8" name="Owal 7">
              <a:extLst>
                <a:ext uri="{FF2B5EF4-FFF2-40B4-BE49-F238E27FC236}">
                  <a16:creationId xmlns:a16="http://schemas.microsoft.com/office/drawing/2014/main" id="{424A126A-06B9-A1C7-5BF6-9D1E4FA3CA01}"/>
                </a:ext>
              </a:extLst>
            </p:cNvPr>
            <p:cNvSpPr/>
            <p:nvPr/>
          </p:nvSpPr>
          <p:spPr>
            <a:xfrm>
              <a:off x="4798470" y="2865384"/>
              <a:ext cx="2216757" cy="2216757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pic>
          <p:nvPicPr>
            <p:cNvPr id="9" name="Obraz 8">
              <a:extLst>
                <a:ext uri="{FF2B5EF4-FFF2-40B4-BE49-F238E27FC236}">
                  <a16:creationId xmlns:a16="http://schemas.microsoft.com/office/drawing/2014/main" id="{D23C5B27-610B-0AF0-F26B-DDF295DAE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58724" y="2626432"/>
              <a:ext cx="2696247" cy="2696247"/>
            </a:xfrm>
            <a:prstGeom prst="rect">
              <a:avLst/>
            </a:prstGeom>
          </p:spPr>
        </p:pic>
        <p:sp>
          <p:nvSpPr>
            <p:cNvPr id="10" name="object 79">
              <a:extLst>
                <a:ext uri="{FF2B5EF4-FFF2-40B4-BE49-F238E27FC236}">
                  <a16:creationId xmlns:a16="http://schemas.microsoft.com/office/drawing/2014/main" id="{C4463B07-D6BE-5ACC-85A3-1AA387D773CC}"/>
                </a:ext>
              </a:extLst>
            </p:cNvPr>
            <p:cNvSpPr txBox="1"/>
            <p:nvPr/>
          </p:nvSpPr>
          <p:spPr>
            <a:xfrm>
              <a:off x="5182639" y="3811937"/>
              <a:ext cx="1418166" cy="394054"/>
            </a:xfrm>
            <a:prstGeom prst="rect">
              <a:avLst/>
            </a:prstGeom>
          </p:spPr>
          <p:txBody>
            <a:bodyPr vert="horz" wrap="square" lIns="0" tIns="11783" rIns="0" bIns="0" rtlCol="0">
              <a:spAutoFit/>
            </a:bodyPr>
            <a:lstStyle/>
            <a:p>
              <a:pPr marL="11783" algn="ctr">
                <a:spcBef>
                  <a:spcPts val="93"/>
                </a:spcBef>
              </a:pPr>
              <a:r>
                <a:rPr lang="pl-PL" sz="1200" spc="-14" dirty="0">
                  <a:latin typeface="Gilroy ExtraBold" panose="00000900000000000000" pitchFamily="50" charset="-18"/>
                  <a:cs typeface="Gilroy Light"/>
                </a:rPr>
                <a:t>Cena CAP dla gazu ziemnego</a:t>
              </a:r>
            </a:p>
          </p:txBody>
        </p:sp>
      </p:grpSp>
      <p:grpSp>
        <p:nvGrpSpPr>
          <p:cNvPr id="11" name="Grupa 10">
            <a:extLst>
              <a:ext uri="{FF2B5EF4-FFF2-40B4-BE49-F238E27FC236}">
                <a16:creationId xmlns:a16="http://schemas.microsoft.com/office/drawing/2014/main" id="{B2F777AB-2875-6C17-8887-B802931D7502}"/>
              </a:ext>
            </a:extLst>
          </p:cNvPr>
          <p:cNvGrpSpPr/>
          <p:nvPr/>
        </p:nvGrpSpPr>
        <p:grpSpPr>
          <a:xfrm>
            <a:off x="7648881" y="2030355"/>
            <a:ext cx="2696247" cy="2696247"/>
            <a:chOff x="6998931" y="2619195"/>
            <a:chExt cx="2696247" cy="2696247"/>
          </a:xfrm>
        </p:grpSpPr>
        <p:sp>
          <p:nvSpPr>
            <p:cNvPr id="12" name="Owal 11">
              <a:extLst>
                <a:ext uri="{FF2B5EF4-FFF2-40B4-BE49-F238E27FC236}">
                  <a16:creationId xmlns:a16="http://schemas.microsoft.com/office/drawing/2014/main" id="{13121B30-B49F-1624-41F7-1F6D94298BB9}"/>
                </a:ext>
              </a:extLst>
            </p:cNvPr>
            <p:cNvSpPr/>
            <p:nvPr/>
          </p:nvSpPr>
          <p:spPr>
            <a:xfrm>
              <a:off x="7238677" y="2865384"/>
              <a:ext cx="2216757" cy="2216757"/>
            </a:xfrm>
            <a:prstGeom prst="ellipse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pic>
          <p:nvPicPr>
            <p:cNvPr id="13" name="Obraz 12">
              <a:extLst>
                <a:ext uri="{FF2B5EF4-FFF2-40B4-BE49-F238E27FC236}">
                  <a16:creationId xmlns:a16="http://schemas.microsoft.com/office/drawing/2014/main" id="{909FF32B-FE13-F64E-51AA-C1465CE88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998931" y="2619195"/>
              <a:ext cx="2696247" cy="2696247"/>
            </a:xfrm>
            <a:prstGeom prst="rect">
              <a:avLst/>
            </a:prstGeom>
          </p:spPr>
        </p:pic>
        <p:sp>
          <p:nvSpPr>
            <p:cNvPr id="14" name="object 79">
              <a:extLst>
                <a:ext uri="{FF2B5EF4-FFF2-40B4-BE49-F238E27FC236}">
                  <a16:creationId xmlns:a16="http://schemas.microsoft.com/office/drawing/2014/main" id="{57CC2EB2-0780-E319-9723-54C41C3C8872}"/>
                </a:ext>
              </a:extLst>
            </p:cNvPr>
            <p:cNvSpPr txBox="1"/>
            <p:nvPr/>
          </p:nvSpPr>
          <p:spPr>
            <a:xfrm>
              <a:off x="7617600" y="3811937"/>
              <a:ext cx="1418166" cy="381230"/>
            </a:xfrm>
            <a:prstGeom prst="rect">
              <a:avLst/>
            </a:prstGeom>
          </p:spPr>
          <p:txBody>
            <a:bodyPr vert="horz" wrap="square" lIns="0" tIns="11783" rIns="0" bIns="0" rtlCol="0">
              <a:spAutoFit/>
            </a:bodyPr>
            <a:lstStyle/>
            <a:p>
              <a:pPr algn="ctr"/>
              <a:r>
                <a:rPr lang="pl-PL" sz="1200" b="1" dirty="0">
                  <a:latin typeface="Gilroy ExtraBold" pitchFamily="2" charset="0"/>
                </a:rPr>
                <a:t>Wsparcie UE i rządu RP</a:t>
              </a:r>
            </a:p>
          </p:txBody>
        </p:sp>
      </p:grpSp>
      <p:pic>
        <p:nvPicPr>
          <p:cNvPr id="65" name="Obraz 64">
            <a:extLst>
              <a:ext uri="{FF2B5EF4-FFF2-40B4-BE49-F238E27FC236}">
                <a16:creationId xmlns:a16="http://schemas.microsoft.com/office/drawing/2014/main" id="{02A1B518-A2B0-C327-270A-EA1CA88A2A38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6200000">
            <a:off x="14739865" y="3516585"/>
            <a:ext cx="1238498" cy="1238498"/>
          </a:xfrm>
          <a:prstGeom prst="rect">
            <a:avLst/>
          </a:prstGeom>
        </p:spPr>
      </p:pic>
      <p:sp>
        <p:nvSpPr>
          <p:cNvPr id="66" name="Symbol zastępczy tekstu 2">
            <a:extLst>
              <a:ext uri="{FF2B5EF4-FFF2-40B4-BE49-F238E27FC236}">
                <a16:creationId xmlns:a16="http://schemas.microsoft.com/office/drawing/2014/main" id="{2E9D4379-B809-FA2E-31EB-6F860909037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8329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CEB2B2-8361-4469-8513-702CA4CC6C90}" type="datetime'2''''''''''''''''0''''''''''1''4''''''''''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7" name="Symbol zastępczy tekstu 2">
            <a:extLst>
              <a:ext uri="{FF2B5EF4-FFF2-40B4-BE49-F238E27FC236}">
                <a16:creationId xmlns:a16="http://schemas.microsoft.com/office/drawing/2014/main" id="{2138C451-BF7A-9821-EBE5-150717F7385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659197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4D282-6815-4684-8698-72B013394838}" type="datetime'''''''2''''''''''''''''''''''''0''''''''''''''1''''''8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8" name="Symbol zastępczy tekstu 2">
            <a:extLst>
              <a:ext uri="{FF2B5EF4-FFF2-40B4-BE49-F238E27FC236}">
                <a16:creationId xmlns:a16="http://schemas.microsoft.com/office/drawing/2014/main" id="{98D0C4AE-7ECB-E5AF-059E-ACEA6C02FBF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2383930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972BAA-84BB-4422-A1C1-37748B3D40DD}" type="datetime'2''''''0''''''''''''''22''''''''''''''''''''/05''''''''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5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9" name="Symbol zastępczy tekstu 2">
            <a:extLst>
              <a:ext uri="{FF2B5EF4-FFF2-40B4-BE49-F238E27FC236}">
                <a16:creationId xmlns:a16="http://schemas.microsoft.com/office/drawing/2014/main" id="{7D8C7D9A-21B3-9B65-910C-8D3C59F2634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531028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D734AF-BDD0-46DD-99FD-1A8EBDE8A589}" type="datetime'''''''''''''2''0''''''''''''''''''''''''''1''''''''''5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0" name="Symbol zastępczy tekstu 2">
            <a:extLst>
              <a:ext uri="{FF2B5EF4-FFF2-40B4-BE49-F238E27FC236}">
                <a16:creationId xmlns:a16="http://schemas.microsoft.com/office/drawing/2014/main" id="{17672053-4179-6CDF-716E-412F1F621A7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75453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918093-A275-4CF9-9D45-DCA3E24D637C}" type="datetime'''''''2''1''''Q''1'''''">
              <a:rPr lang="pl-PL" altLang="en-US" sz="1200">
                <a:latin typeface="Gilroy Light" panose="00000400000000000000" pitchFamily="50" charset="-18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Q1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1" name="Symbol zastępczy tekstu 2">
            <a:extLst>
              <a:ext uri="{FF2B5EF4-FFF2-40B4-BE49-F238E27FC236}">
                <a16:creationId xmlns:a16="http://schemas.microsoft.com/office/drawing/2014/main" id="{BC1BE9E6-C0FF-E1DB-0C6F-1584D1BB240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0841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CB1A39-8976-4332-9F7A-F3BE73F51408}" type="datetime'''''20''''''''2''''''''0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2" name="Symbol zastępczy tekstu 2">
            <a:extLst>
              <a:ext uri="{FF2B5EF4-FFF2-40B4-BE49-F238E27FC236}">
                <a16:creationId xmlns:a16="http://schemas.microsoft.com/office/drawing/2014/main" id="{67A6F60D-29F7-6188-678F-8BB4A871D06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372663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D6E9CC-A399-40C2-92F9-E961F406934F}" type="datetime'''''''''''''''2''''''''''''''0''''''''''''''''''19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3" name="Symbol zastępczy tekstu 2">
            <a:extLst>
              <a:ext uri="{FF2B5EF4-FFF2-40B4-BE49-F238E27FC236}">
                <a16:creationId xmlns:a16="http://schemas.microsoft.com/office/drawing/2014/main" id="{FAAA3231-8319-2AD3-C10C-6DC132523C3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23481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40D4CE-FE71-47DC-ACBF-5818FA3A3AA1}" type="datetime'''''''''''2''''''0''''''1''6''''''''''''''''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4" name="Symbol zastępczy tekstu 2">
            <a:extLst>
              <a:ext uri="{FF2B5EF4-FFF2-40B4-BE49-F238E27FC236}">
                <a16:creationId xmlns:a16="http://schemas.microsoft.com/office/drawing/2014/main" id="{62454E12-B5A2-B9C9-6BFC-0A66F9ACCA5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955961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8100D1-4A49-4481-9001-9F044C5B7883}" type="datetime'''''''''''2''''''''''''''0''''1''''''''''''7''''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5" name="Symbol zastępczy tekstu 2">
            <a:extLst>
              <a:ext uri="{FF2B5EF4-FFF2-40B4-BE49-F238E27FC236}">
                <a16:creationId xmlns:a16="http://schemas.microsoft.com/office/drawing/2014/main" id="{E9D88C3A-E7E1-E319-BA54-DB3A67A72AA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202522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05752A-48A0-4FB3-8496-F00487E4ECDA}" type="datetime'''''''''2''''''''''''''''''''''''1''''''''Q''''''''''''''''3'">
              <a:rPr lang="pl-PL" altLang="en-US" sz="1200">
                <a:latin typeface="Gilroy Light" panose="00000400000000000000" pitchFamily="50" charset="-18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Q3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6" name="Symbol zastępczy tekstu 2">
            <a:extLst>
              <a:ext uri="{FF2B5EF4-FFF2-40B4-BE49-F238E27FC236}">
                <a16:creationId xmlns:a16="http://schemas.microsoft.com/office/drawing/2014/main" id="{7BC11D14-C21D-440F-D43F-EB1D22A6D16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473688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D9D534-2EBF-4445-BA6A-C294BBCF2F6B}" type="datetime'''''''''''''''''''''2''''''''''1''''''''''''''Q''2'''''">
              <a:rPr lang="pl-PL" altLang="en-US" sz="1200">
                <a:latin typeface="Gilroy Light" panose="00000400000000000000" pitchFamily="50" charset="-18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Q2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7" name="Symbol zastępczy tekstu 2">
            <a:extLst>
              <a:ext uri="{FF2B5EF4-FFF2-40B4-BE49-F238E27FC236}">
                <a16:creationId xmlns:a16="http://schemas.microsoft.com/office/drawing/2014/main" id="{31024E1D-F097-96AC-1D40-0A9842C24DE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91598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81344E-A798-44C6-BEC3-1115928B2DEB}" type="datetime'''''''''''''''''''''''''''''''''''''2''''''''''1Q4'''''''''''">
              <a:rPr lang="pl-PL" altLang="en-US" sz="1200">
                <a:latin typeface="Gilroy Light" panose="00000400000000000000" pitchFamily="50" charset="-18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Q4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8" name="Symbol zastępczy tekstu 2">
            <a:extLst>
              <a:ext uri="{FF2B5EF4-FFF2-40B4-BE49-F238E27FC236}">
                <a16:creationId xmlns:a16="http://schemas.microsoft.com/office/drawing/2014/main" id="{F8040A55-FC5B-569D-80B1-974B5411428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4538243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82E18E-2D65-4D03-AB6D-21CC9EEC4F17}" type="datetime'2''''''0''''''''''''''2''''''''''''2''''''/0''''''8''''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8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9" name="Symbol zastępczy tekstu 2">
            <a:extLst>
              <a:ext uri="{FF2B5EF4-FFF2-40B4-BE49-F238E27FC236}">
                <a16:creationId xmlns:a16="http://schemas.microsoft.com/office/drawing/2014/main" id="{46ECE8B2-0222-2700-1AD9-800A65E130A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526382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49ACBD-34B9-4C44-AFE0-C1386101FD34}" type="datetime'2''0''''''2''2''''''''''''''''''''''''''''/''01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1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0" name="Symbol zastępczy tekstu 2">
            <a:extLst>
              <a:ext uri="{FF2B5EF4-FFF2-40B4-BE49-F238E27FC236}">
                <a16:creationId xmlns:a16="http://schemas.microsoft.com/office/drawing/2014/main" id="{B4A5448C-D6F6-2B2C-0743-73064C7F8D6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255216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61F4C4-4472-40E3-A1BA-2DBF718DE0FD}" type="datetime'''''2''''0''''2''''''''''''''''''''''''2/''''''0''''2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2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1" name="Symbol zastępczy tekstu 2">
            <a:extLst>
              <a:ext uri="{FF2B5EF4-FFF2-40B4-BE49-F238E27FC236}">
                <a16:creationId xmlns:a16="http://schemas.microsoft.com/office/drawing/2014/main" id="{93F9327B-6BF1-FFAE-4A5B-40EA0E18F10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974367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94F068-B358-4A66-9674-62E1D0953D38}" type="datetime'2''''''02''''''''''''''2''''''''/''''''''0''''''''3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3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2" name="Symbol zastępczy tekstu 2">
            <a:extLst>
              <a:ext uri="{FF2B5EF4-FFF2-40B4-BE49-F238E27FC236}">
                <a16:creationId xmlns:a16="http://schemas.microsoft.com/office/drawing/2014/main" id="{48BCECF2-7E7A-B169-1751-316929C45B3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167246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EB9D94-4F7C-450C-AB39-13684EF36B61}" type="datetime'''20''''''''''''''''''''''''''''''''''''''22''''''/''0''''4''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4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3" name="Symbol zastępczy tekstu 2">
            <a:extLst>
              <a:ext uri="{FF2B5EF4-FFF2-40B4-BE49-F238E27FC236}">
                <a16:creationId xmlns:a16="http://schemas.microsoft.com/office/drawing/2014/main" id="{C05F78E8-F004-A3FB-2D44-9044FED5334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3105081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6B9DAA-C1DB-4EEC-8B86-F17B68A0B0FF}" type="datetime'''''''2''''''''''''0''''2''''''''2''/''''''0''''''''''''''6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6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4" name="Symbol zastępczy tekstu 2">
            <a:extLst>
              <a:ext uri="{FF2B5EF4-FFF2-40B4-BE49-F238E27FC236}">
                <a16:creationId xmlns:a16="http://schemas.microsoft.com/office/drawing/2014/main" id="{C8E3E179-8875-DA8C-F78B-FE0732B8F99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383191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1C2D4D-240B-46C3-AAF6-4C2EF22917CE}" type="datetime'''''''''''''''''''''''''2''0''''2''2''''/0''''7'">
              <a:rPr lang="pl-PL" altLang="en-US" sz="1200">
                <a:latin typeface="Gilroy Light" panose="00000400000000000000" pitchFamily="50" charset="-18"/>
                <a:sym typeface="Century Gothic" panose="020B0502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/07</a:t>
            </a:fld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5" name="Symbol zastępczy tekstu 2">
            <a:extLst>
              <a:ext uri="{FF2B5EF4-FFF2-40B4-BE49-F238E27FC236}">
                <a16:creationId xmlns:a16="http://schemas.microsoft.com/office/drawing/2014/main" id="{B51D3522-9C50-38B8-BCE4-D5ED30969D5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5233906" y="7253106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l-PL" altLang="en-US" sz="1200" dirty="0">
                <a:latin typeface="Gilroy Light" panose="00000400000000000000" pitchFamily="50" charset="-18"/>
                <a:sym typeface="Century Gothic" panose="020B0502020202020204" pitchFamily="34" charset="0"/>
              </a:rPr>
              <a:t>2022/09</a:t>
            </a: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15" name="pole tekstowe 14">
            <a:extLst>
              <a:ext uri="{FF2B5EF4-FFF2-40B4-BE49-F238E27FC236}">
                <a16:creationId xmlns:a16="http://schemas.microsoft.com/office/drawing/2014/main" id="{47D8B5FC-41EB-8917-D890-21C995C372BF}"/>
              </a:ext>
            </a:extLst>
          </p:cNvPr>
          <p:cNvSpPr txBox="1"/>
          <p:nvPr/>
        </p:nvSpPr>
        <p:spPr>
          <a:xfrm>
            <a:off x="10628026" y="5947314"/>
            <a:ext cx="23949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/>
              <a:t>Wzrost 5-krotny</a:t>
            </a:r>
          </a:p>
        </p:txBody>
      </p:sp>
    </p:spTree>
    <p:extLst>
      <p:ext uri="{BB962C8B-B14F-4D97-AF65-F5344CB8AC3E}">
        <p14:creationId xmlns:p14="http://schemas.microsoft.com/office/powerpoint/2010/main" val="30586115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C5FACCBB-6994-4084-B7B4-BDE597DA8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15" imgH="416" progId="TCLayout.ActiveDocument.1">
                  <p:embed/>
                </p:oleObj>
              </mc:Choice>
              <mc:Fallback>
                <p:oleObj name="think-cell Slide" r:id="rId24" imgW="415" imgH="41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C5FACCBB-6994-4084-B7B4-BDE597DA8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Obraz 21">
            <a:extLst>
              <a:ext uri="{FF2B5EF4-FFF2-40B4-BE49-F238E27FC236}">
                <a16:creationId xmlns:a16="http://schemas.microsoft.com/office/drawing/2014/main" id="{6606AAF4-A9F3-D123-3589-35F91C535333}"/>
              </a:ext>
            </a:extLst>
          </p:cNvPr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64" b="32234"/>
          <a:stretch/>
        </p:blipFill>
        <p:spPr>
          <a:xfrm>
            <a:off x="1633733" y="1063948"/>
            <a:ext cx="14483919" cy="90855"/>
          </a:xfrm>
          <a:prstGeom prst="rect">
            <a:avLst/>
          </a:prstGeom>
        </p:spPr>
      </p:pic>
      <p:pic>
        <p:nvPicPr>
          <p:cNvPr id="23" name="Obraz 22">
            <a:extLst>
              <a:ext uri="{FF2B5EF4-FFF2-40B4-BE49-F238E27FC236}">
                <a16:creationId xmlns:a16="http://schemas.microsoft.com/office/drawing/2014/main" id="{8BF4C95F-BE67-0DDF-E02E-575A0B87DD81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24" y="370285"/>
            <a:ext cx="2051348" cy="451735"/>
          </a:xfrm>
          <a:prstGeom prst="rect">
            <a:avLst/>
          </a:prstGeom>
        </p:spPr>
      </p:pic>
      <p:sp>
        <p:nvSpPr>
          <p:cNvPr id="28" name="object 79">
            <a:extLst>
              <a:ext uri="{FF2B5EF4-FFF2-40B4-BE49-F238E27FC236}">
                <a16:creationId xmlns:a16="http://schemas.microsoft.com/office/drawing/2014/main" id="{01AF504C-4CD2-799D-737E-E37E4D5264EC}"/>
              </a:ext>
            </a:extLst>
          </p:cNvPr>
          <p:cNvSpPr txBox="1"/>
          <p:nvPr/>
        </p:nvSpPr>
        <p:spPr>
          <a:xfrm>
            <a:off x="762123" y="1289778"/>
            <a:ext cx="9716001" cy="627451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>
              <a:spcBef>
                <a:spcPts val="93"/>
              </a:spcBef>
            </a:pPr>
            <a:r>
              <a:rPr lang="pl-PL" sz="4000" spc="74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3</a:t>
            </a:r>
            <a:r>
              <a:rPr lang="pl-PL" sz="4000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 </a:t>
            </a:r>
            <a:r>
              <a:rPr lang="pl-PL" sz="1600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  </a:t>
            </a:r>
            <a:r>
              <a:rPr lang="pl-PL" sz="2000" b="1" spc="-14" dirty="0">
                <a:cs typeface="Gilroy Light"/>
              </a:rPr>
              <a:t>WSTRZYMANIE TRANSPORTU KOLEJOWEGO SUROWCÓW MINERALNYCH Z UKRAINY</a:t>
            </a:r>
          </a:p>
        </p:txBody>
      </p:sp>
      <p:sp useBgFill="1">
        <p:nvSpPr>
          <p:cNvPr id="44" name="Symbol zastępczy tekstu 2">
            <a:extLst>
              <a:ext uri="{FF2B5EF4-FFF2-40B4-BE49-F238E27FC236}">
                <a16:creationId xmlns:a16="http://schemas.microsoft.com/office/drawing/2014/main" id="{37ACA3FA-43D3-F969-5B64-4AE5E36655A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874174" y="5586291"/>
            <a:ext cx="204918" cy="124399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 useBgFill="1">
        <p:nvSpPr>
          <p:cNvPr id="50" name="Symbol zastępczy tekstu 2">
            <a:extLst>
              <a:ext uri="{FF2B5EF4-FFF2-40B4-BE49-F238E27FC236}">
                <a16:creationId xmlns:a16="http://schemas.microsoft.com/office/drawing/2014/main" id="{32D859A7-7144-5FF0-5A69-6F742837248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3098854" y="3769784"/>
            <a:ext cx="246068" cy="138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58" name="pole tekstowe 16">
            <a:extLst>
              <a:ext uri="{FF2B5EF4-FFF2-40B4-BE49-F238E27FC236}">
                <a16:creationId xmlns:a16="http://schemas.microsoft.com/office/drawing/2014/main" id="{E3351ADE-8716-82A9-76F0-615B7F9CAA69}"/>
              </a:ext>
            </a:extLst>
          </p:cNvPr>
          <p:cNvSpPr txBox="1"/>
          <p:nvPr/>
        </p:nvSpPr>
        <p:spPr>
          <a:xfrm>
            <a:off x="3531983" y="242201"/>
            <a:ext cx="11180716" cy="85328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r" rtl="0"/>
            <a:r>
              <a:rPr lang="pl-PL" sz="2400" dirty="0">
                <a:latin typeface="Gilroy Light" panose="00000400000000000000" pitchFamily="50" charset="-18"/>
              </a:rPr>
              <a:t>BRANŻA PŁYTEK CERAMICZNYCH   |   KLUCZOWE PROBLEMY</a:t>
            </a:r>
          </a:p>
        </p:txBody>
      </p:sp>
      <p:sp>
        <p:nvSpPr>
          <p:cNvPr id="67" name="Symbol zastępczy tekstu 2">
            <a:extLst>
              <a:ext uri="{FF2B5EF4-FFF2-40B4-BE49-F238E27FC236}">
                <a16:creationId xmlns:a16="http://schemas.microsoft.com/office/drawing/2014/main" id="{2138C451-BF7A-9821-EBE5-150717F7385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659197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8" name="Symbol zastępczy tekstu 2">
            <a:extLst>
              <a:ext uri="{FF2B5EF4-FFF2-40B4-BE49-F238E27FC236}">
                <a16:creationId xmlns:a16="http://schemas.microsoft.com/office/drawing/2014/main" id="{98D0C4AE-7ECB-E5AF-059E-ACEA6C02FBF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2383930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9" name="Symbol zastępczy tekstu 2">
            <a:extLst>
              <a:ext uri="{FF2B5EF4-FFF2-40B4-BE49-F238E27FC236}">
                <a16:creationId xmlns:a16="http://schemas.microsoft.com/office/drawing/2014/main" id="{7D8C7D9A-21B3-9B65-910C-8D3C59F2634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31028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0" name="Symbol zastępczy tekstu 2">
            <a:extLst>
              <a:ext uri="{FF2B5EF4-FFF2-40B4-BE49-F238E27FC236}">
                <a16:creationId xmlns:a16="http://schemas.microsoft.com/office/drawing/2014/main" id="{17672053-4179-6CDF-716E-412F1F621A7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75453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1" name="Symbol zastępczy tekstu 2">
            <a:extLst>
              <a:ext uri="{FF2B5EF4-FFF2-40B4-BE49-F238E27FC236}">
                <a16:creationId xmlns:a16="http://schemas.microsoft.com/office/drawing/2014/main" id="{BC1BE9E6-C0FF-E1DB-0C6F-1584D1BB240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0841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2" name="Symbol zastępczy tekstu 2">
            <a:extLst>
              <a:ext uri="{FF2B5EF4-FFF2-40B4-BE49-F238E27FC236}">
                <a16:creationId xmlns:a16="http://schemas.microsoft.com/office/drawing/2014/main" id="{67A6F60D-29F7-6188-678F-8BB4A871D06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372663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3" name="Symbol zastępczy tekstu 2">
            <a:extLst>
              <a:ext uri="{FF2B5EF4-FFF2-40B4-BE49-F238E27FC236}">
                <a16:creationId xmlns:a16="http://schemas.microsoft.com/office/drawing/2014/main" id="{FAAA3231-8319-2AD3-C10C-6DC132523C3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3481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4" name="Symbol zastępczy tekstu 2">
            <a:extLst>
              <a:ext uri="{FF2B5EF4-FFF2-40B4-BE49-F238E27FC236}">
                <a16:creationId xmlns:a16="http://schemas.microsoft.com/office/drawing/2014/main" id="{62454E12-B5A2-B9C9-6BFC-0A66F9ACCA5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955961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5" name="Symbol zastępczy tekstu 2">
            <a:extLst>
              <a:ext uri="{FF2B5EF4-FFF2-40B4-BE49-F238E27FC236}">
                <a16:creationId xmlns:a16="http://schemas.microsoft.com/office/drawing/2014/main" id="{E9D88C3A-E7E1-E319-BA54-DB3A67A72AA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202522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6" name="Symbol zastępczy tekstu 2">
            <a:extLst>
              <a:ext uri="{FF2B5EF4-FFF2-40B4-BE49-F238E27FC236}">
                <a16:creationId xmlns:a16="http://schemas.microsoft.com/office/drawing/2014/main" id="{7BC11D14-C21D-440F-D43F-EB1D22A6D16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473688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7" name="Symbol zastępczy tekstu 2">
            <a:extLst>
              <a:ext uri="{FF2B5EF4-FFF2-40B4-BE49-F238E27FC236}">
                <a16:creationId xmlns:a16="http://schemas.microsoft.com/office/drawing/2014/main" id="{31024E1D-F097-96AC-1D40-0A9842C24DE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91598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8" name="Symbol zastępczy tekstu 2">
            <a:extLst>
              <a:ext uri="{FF2B5EF4-FFF2-40B4-BE49-F238E27FC236}">
                <a16:creationId xmlns:a16="http://schemas.microsoft.com/office/drawing/2014/main" id="{F8040A55-FC5B-569D-80B1-974B5411428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4538243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9" name="Symbol zastępczy tekstu 2">
            <a:extLst>
              <a:ext uri="{FF2B5EF4-FFF2-40B4-BE49-F238E27FC236}">
                <a16:creationId xmlns:a16="http://schemas.microsoft.com/office/drawing/2014/main" id="{46ECE8B2-0222-2700-1AD9-800A65E130A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526382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0" name="Symbol zastępczy tekstu 2">
            <a:extLst>
              <a:ext uri="{FF2B5EF4-FFF2-40B4-BE49-F238E27FC236}">
                <a16:creationId xmlns:a16="http://schemas.microsoft.com/office/drawing/2014/main" id="{B4A5448C-D6F6-2B2C-0743-73064C7F8D6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255216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1" name="Symbol zastępczy tekstu 2">
            <a:extLst>
              <a:ext uri="{FF2B5EF4-FFF2-40B4-BE49-F238E27FC236}">
                <a16:creationId xmlns:a16="http://schemas.microsoft.com/office/drawing/2014/main" id="{93F9327B-6BF1-FFAE-4A5B-40EA0E18F10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929396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2" name="Symbol zastępczy tekstu 2">
            <a:extLst>
              <a:ext uri="{FF2B5EF4-FFF2-40B4-BE49-F238E27FC236}">
                <a16:creationId xmlns:a16="http://schemas.microsoft.com/office/drawing/2014/main" id="{48BCECF2-7E7A-B169-1751-316929C45B3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67246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3" name="Symbol zastępczy tekstu 2">
            <a:extLst>
              <a:ext uri="{FF2B5EF4-FFF2-40B4-BE49-F238E27FC236}">
                <a16:creationId xmlns:a16="http://schemas.microsoft.com/office/drawing/2014/main" id="{C05F78E8-F004-A3FB-2D44-9044FED5334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105081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4" name="Symbol zastępczy tekstu 2">
            <a:extLst>
              <a:ext uri="{FF2B5EF4-FFF2-40B4-BE49-F238E27FC236}">
                <a16:creationId xmlns:a16="http://schemas.microsoft.com/office/drawing/2014/main" id="{C8E3E179-8875-DA8C-F78B-FE0732B8F99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83191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2FE61437-9572-B422-0FA0-A35890BB718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8212" y="2384987"/>
            <a:ext cx="6557568" cy="4360783"/>
          </a:xfrm>
          <a:prstGeom prst="rect">
            <a:avLst/>
          </a:prstGeom>
        </p:spPr>
      </p:pic>
      <p:sp>
        <p:nvSpPr>
          <p:cNvPr id="7" name="pole tekstowe 6">
            <a:extLst>
              <a:ext uri="{FF2B5EF4-FFF2-40B4-BE49-F238E27FC236}">
                <a16:creationId xmlns:a16="http://schemas.microsoft.com/office/drawing/2014/main" id="{06F0A480-1E8B-95B8-0FBC-038D8FC7E5C9}"/>
              </a:ext>
            </a:extLst>
          </p:cNvPr>
          <p:cNvSpPr txBox="1"/>
          <p:nvPr/>
        </p:nvSpPr>
        <p:spPr>
          <a:xfrm>
            <a:off x="1255018" y="6770368"/>
            <a:ext cx="66207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/>
              <a:t>Interwencja i rozmowy w Ambasadzie Ukrainy w Warszawie</a:t>
            </a:r>
            <a:br>
              <a:rPr lang="pl-PL" dirty="0"/>
            </a:br>
            <a:r>
              <a:rPr lang="pl-PL" dirty="0"/>
              <a:t> – odblokowanie przestojów transportów z glinami po stronie Ukrainy </a:t>
            </a: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5F4C4BA5-F613-9B47-C2E3-3D42FA4BF840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4997" y="2249341"/>
            <a:ext cx="5453245" cy="453673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pole tekstowe 2">
            <a:extLst>
              <a:ext uri="{FF2B5EF4-FFF2-40B4-BE49-F238E27FC236}">
                <a16:creationId xmlns:a16="http://schemas.microsoft.com/office/drawing/2014/main" id="{0735B5A2-F10A-40BC-69E7-44F2B8A02B74}"/>
              </a:ext>
            </a:extLst>
          </p:cNvPr>
          <p:cNvSpPr txBox="1"/>
          <p:nvPr/>
        </p:nvSpPr>
        <p:spPr>
          <a:xfrm>
            <a:off x="9468276" y="7047367"/>
            <a:ext cx="5069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/>
              <a:t>Okolice Doniecka z zaznaczonymi  obszarami glin</a:t>
            </a:r>
          </a:p>
        </p:txBody>
      </p:sp>
    </p:spTree>
    <p:extLst>
      <p:ext uri="{BB962C8B-B14F-4D97-AF65-F5344CB8AC3E}">
        <p14:creationId xmlns:p14="http://schemas.microsoft.com/office/powerpoint/2010/main" val="22722216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C5FACCBB-6994-4084-B7B4-BDE597DA8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C5FACCBB-6994-4084-B7B4-BDE597DA8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wal 2">
            <a:extLst>
              <a:ext uri="{FF2B5EF4-FFF2-40B4-BE49-F238E27FC236}">
                <a16:creationId xmlns:a16="http://schemas.microsoft.com/office/drawing/2014/main" id="{81AFCF20-305F-733F-89C2-D59CD3087DDB}"/>
              </a:ext>
            </a:extLst>
          </p:cNvPr>
          <p:cNvSpPr/>
          <p:nvPr/>
        </p:nvSpPr>
        <p:spPr>
          <a:xfrm>
            <a:off x="4711710" y="2638077"/>
            <a:ext cx="3273361" cy="3273361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413F3393-678C-DCC4-D867-3DEF520DECE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7691" y="2285213"/>
            <a:ext cx="3981397" cy="3981397"/>
          </a:xfrm>
          <a:prstGeom prst="rect">
            <a:avLst/>
          </a:prstGeom>
        </p:spPr>
      </p:pic>
      <p:sp>
        <p:nvSpPr>
          <p:cNvPr id="7" name="pole tekstowe 16">
            <a:extLst>
              <a:ext uri="{FF2B5EF4-FFF2-40B4-BE49-F238E27FC236}">
                <a16:creationId xmlns:a16="http://schemas.microsoft.com/office/drawing/2014/main" id="{42A85933-5A88-F6CE-3704-AA42FD0DAFA4}"/>
              </a:ext>
            </a:extLst>
          </p:cNvPr>
          <p:cNvSpPr txBox="1"/>
          <p:nvPr/>
        </p:nvSpPr>
        <p:spPr>
          <a:xfrm>
            <a:off x="3531983" y="242201"/>
            <a:ext cx="11180716" cy="85328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r" rtl="0"/>
            <a:r>
              <a:rPr lang="pl-PL" sz="2400" dirty="0">
                <a:latin typeface="Gilroy Light" panose="00000400000000000000" pitchFamily="50" charset="-18"/>
              </a:rPr>
              <a:t>BRANŻA PŁYTEK CERAMICZNYCH | KLUCZOWE PROBLEMY</a:t>
            </a: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13E610C4-6314-F124-C231-93E32D3CFD8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64" b="32234"/>
          <a:stretch/>
        </p:blipFill>
        <p:spPr>
          <a:xfrm>
            <a:off x="1633733" y="1063948"/>
            <a:ext cx="14483919" cy="90855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20B928B5-E036-B869-3B01-9E88FB9E334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24" y="370285"/>
            <a:ext cx="2051348" cy="451735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F198D9E3-ACAF-C438-5D62-9CC2FA4EF05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1" t="-2998" r="9208" b="17911"/>
          <a:stretch/>
        </p:blipFill>
        <p:spPr>
          <a:xfrm>
            <a:off x="0" y="8272065"/>
            <a:ext cx="16560799" cy="103883"/>
          </a:xfrm>
          <a:prstGeom prst="rect">
            <a:avLst/>
          </a:prstGeom>
        </p:spPr>
      </p:pic>
      <p:sp>
        <p:nvSpPr>
          <p:cNvPr id="41" name="Owal 40">
            <a:extLst>
              <a:ext uri="{FF2B5EF4-FFF2-40B4-BE49-F238E27FC236}">
                <a16:creationId xmlns:a16="http://schemas.microsoft.com/office/drawing/2014/main" id="{51B88F58-70D8-2124-5BA4-16874196D44E}"/>
              </a:ext>
            </a:extLst>
          </p:cNvPr>
          <p:cNvSpPr/>
          <p:nvPr/>
        </p:nvSpPr>
        <p:spPr>
          <a:xfrm>
            <a:off x="1116142" y="2629703"/>
            <a:ext cx="3273361" cy="3273361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42" name="Obraz 41">
            <a:extLst>
              <a:ext uri="{FF2B5EF4-FFF2-40B4-BE49-F238E27FC236}">
                <a16:creationId xmlns:a16="http://schemas.microsoft.com/office/drawing/2014/main" id="{C53E75E5-FC5E-FECA-4A39-2D09B8DF5EA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9870" y="2274543"/>
            <a:ext cx="3981397" cy="3981397"/>
          </a:xfrm>
          <a:prstGeom prst="rect">
            <a:avLst/>
          </a:prstGeom>
        </p:spPr>
      </p:pic>
      <p:sp>
        <p:nvSpPr>
          <p:cNvPr id="43" name="object 79">
            <a:extLst>
              <a:ext uri="{FF2B5EF4-FFF2-40B4-BE49-F238E27FC236}">
                <a16:creationId xmlns:a16="http://schemas.microsoft.com/office/drawing/2014/main" id="{908E3073-52F8-941E-9094-D317B8775150}"/>
              </a:ext>
            </a:extLst>
          </p:cNvPr>
          <p:cNvSpPr txBox="1"/>
          <p:nvPr/>
        </p:nvSpPr>
        <p:spPr>
          <a:xfrm>
            <a:off x="1705758" y="4041687"/>
            <a:ext cx="2094127" cy="258119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 algn="ctr">
              <a:spcBef>
                <a:spcPts val="93"/>
              </a:spcBef>
            </a:pPr>
            <a:r>
              <a:rPr lang="pl-PL" sz="1600" b="1" spc="-14" dirty="0">
                <a:cs typeface="Gilroy Light"/>
              </a:rPr>
              <a:t>Importer „tanich” płytek</a:t>
            </a:r>
          </a:p>
        </p:txBody>
      </p:sp>
      <p:sp>
        <p:nvSpPr>
          <p:cNvPr id="44" name="object 79">
            <a:extLst>
              <a:ext uri="{FF2B5EF4-FFF2-40B4-BE49-F238E27FC236}">
                <a16:creationId xmlns:a16="http://schemas.microsoft.com/office/drawing/2014/main" id="{B05A5B68-92E4-22DF-77E8-49D7B8509D07}"/>
              </a:ext>
            </a:extLst>
          </p:cNvPr>
          <p:cNvSpPr txBox="1"/>
          <p:nvPr/>
        </p:nvSpPr>
        <p:spPr>
          <a:xfrm>
            <a:off x="5278992" y="4041687"/>
            <a:ext cx="2094127" cy="504341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 algn="ctr">
              <a:spcBef>
                <a:spcPts val="93"/>
              </a:spcBef>
            </a:pPr>
            <a:r>
              <a:rPr lang="pl-PL" sz="1600" b="1" spc="-14" dirty="0">
                <a:cs typeface="Gilroy Light"/>
              </a:rPr>
              <a:t>Zagrożenie dla branży płytek ceramicznych</a:t>
            </a:r>
          </a:p>
        </p:txBody>
      </p:sp>
      <p:sp>
        <p:nvSpPr>
          <p:cNvPr id="45" name="pole tekstowe 44">
            <a:extLst>
              <a:ext uri="{FF2B5EF4-FFF2-40B4-BE49-F238E27FC236}">
                <a16:creationId xmlns:a16="http://schemas.microsoft.com/office/drawing/2014/main" id="{03B63666-6D43-ED34-B578-58C8F7C65481}"/>
              </a:ext>
            </a:extLst>
          </p:cNvPr>
          <p:cNvSpPr txBox="1"/>
          <p:nvPr/>
        </p:nvSpPr>
        <p:spPr>
          <a:xfrm>
            <a:off x="1116142" y="6060537"/>
            <a:ext cx="3425878" cy="931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ts val="132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83679" algn="l"/>
              </a:tabLst>
              <a:defRPr/>
            </a:pPr>
            <a:r>
              <a:rPr lang="pl-PL" sz="1400" b="1" kern="1200" spc="-4" dirty="0">
                <a:solidFill>
                  <a:schemeClr val="tx1"/>
                </a:solidFill>
                <a:ea typeface="+mn-ea"/>
                <a:cs typeface="Gilroy ExtraBold"/>
              </a:rPr>
              <a:t>Brak ETS w Indiach i Turcji</a:t>
            </a:r>
          </a:p>
          <a:p>
            <a:pPr marL="171450" marR="0" lvl="0" indent="-171450" algn="l" defTabSz="914400" rtl="0" eaLnBrk="1" fontAlgn="auto" latinLnBrk="0" hangingPunct="1">
              <a:lnSpc>
                <a:spcPts val="132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83679" algn="l"/>
              </a:tabLst>
              <a:defRPr/>
            </a:pPr>
            <a:r>
              <a:rPr lang="pl-PL" sz="1400" b="1" kern="1200" spc="-4" dirty="0">
                <a:solidFill>
                  <a:schemeClr val="tx1"/>
                </a:solidFill>
                <a:ea typeface="+mn-ea"/>
                <a:cs typeface="Gilroy ExtraBold"/>
              </a:rPr>
              <a:t>Brak zasad zatrudniania dzieci w Indiach</a:t>
            </a:r>
          </a:p>
          <a:p>
            <a:pPr marL="171450" marR="0" lvl="0" indent="-171450" algn="l" defTabSz="914400" rtl="0" eaLnBrk="1" fontAlgn="auto" latinLnBrk="0" hangingPunct="1">
              <a:lnSpc>
                <a:spcPts val="132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83679" algn="l"/>
              </a:tabLst>
              <a:defRPr/>
            </a:pPr>
            <a:r>
              <a:rPr lang="pl-PL" sz="1400" b="1" kern="1200" spc="-4" dirty="0">
                <a:solidFill>
                  <a:schemeClr val="tx1"/>
                </a:solidFill>
                <a:ea typeface="+mn-ea"/>
                <a:cs typeface="Gilroy ExtraBold"/>
              </a:rPr>
              <a:t>Brak zasad dotyczących materiałów użytych w procesie produkcji (płytki radioaktywne)</a:t>
            </a:r>
            <a:endParaRPr lang="pl-PL" sz="1400" b="0" kern="12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46" name="pole tekstowe 45">
            <a:extLst>
              <a:ext uri="{FF2B5EF4-FFF2-40B4-BE49-F238E27FC236}">
                <a16:creationId xmlns:a16="http://schemas.microsoft.com/office/drawing/2014/main" id="{497022BE-BE39-D7CA-3236-91C20856DC86}"/>
              </a:ext>
            </a:extLst>
          </p:cNvPr>
          <p:cNvSpPr txBox="1"/>
          <p:nvPr/>
        </p:nvSpPr>
        <p:spPr>
          <a:xfrm>
            <a:off x="4935587" y="5988219"/>
            <a:ext cx="3081295" cy="925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ts val="132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83679" algn="l"/>
              </a:tabLst>
              <a:defRPr/>
            </a:pPr>
            <a:r>
              <a:rPr lang="pl-PL" sz="1400" b="1" kern="1200" spc="-4" dirty="0">
                <a:solidFill>
                  <a:schemeClr val="tx1"/>
                </a:solidFill>
                <a:ea typeface="+mn-ea"/>
                <a:cs typeface="Gilroy ExtraBold"/>
              </a:rPr>
              <a:t>Tania </a:t>
            </a:r>
            <a:r>
              <a:rPr lang="pl-PL" sz="1400" b="1" spc="-4" dirty="0">
                <a:cs typeface="Gilroy ExtraBold"/>
              </a:rPr>
              <a:t>płytka</a:t>
            </a:r>
            <a:r>
              <a:rPr lang="pl-PL" sz="1400" b="1" kern="1200" spc="-4" dirty="0">
                <a:solidFill>
                  <a:schemeClr val="tx1"/>
                </a:solidFill>
                <a:ea typeface="+mn-ea"/>
                <a:cs typeface="Gilroy ExtraBold"/>
              </a:rPr>
              <a:t> bez żadnych standardów</a:t>
            </a:r>
          </a:p>
          <a:p>
            <a:pPr marL="171450" marR="0" lvl="0" indent="-171450" algn="l" defTabSz="914400" rtl="0" eaLnBrk="1" fontAlgn="auto" latinLnBrk="0" hangingPunct="1">
              <a:lnSpc>
                <a:spcPts val="132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83679" algn="l"/>
              </a:tabLst>
              <a:defRPr/>
            </a:pPr>
            <a:r>
              <a:rPr lang="pl-PL" sz="1400" b="1" spc="-4" dirty="0">
                <a:cs typeface="Gilroy ExtraBold"/>
              </a:rPr>
              <a:t>R</a:t>
            </a:r>
            <a:r>
              <a:rPr lang="pl-PL" sz="1400" b="1" kern="1200" spc="-4" dirty="0">
                <a:solidFill>
                  <a:schemeClr val="tx1"/>
                </a:solidFill>
                <a:ea typeface="+mn-ea"/>
                <a:cs typeface="Gilroy ExtraBold"/>
              </a:rPr>
              <a:t>edukcja zatrudnienia</a:t>
            </a:r>
          </a:p>
          <a:p>
            <a:pPr marL="171450" marR="0" lvl="0" indent="-171450" algn="l" defTabSz="914400" rtl="0" eaLnBrk="1" fontAlgn="auto" latinLnBrk="0" hangingPunct="1">
              <a:lnSpc>
                <a:spcPts val="132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83679" algn="l"/>
              </a:tabLst>
              <a:defRPr/>
            </a:pPr>
            <a:r>
              <a:rPr lang="pl-PL" sz="1400" b="1" spc="-4" dirty="0"/>
              <a:t>Brak ochrony rynku krajowego</a:t>
            </a:r>
            <a:endParaRPr lang="pl-PL" sz="1400" b="0" kern="1200" dirty="0">
              <a:solidFill>
                <a:schemeClr val="tx1"/>
              </a:solidFill>
              <a:ea typeface="+mn-ea"/>
              <a:cs typeface="+mn-cs"/>
            </a:endParaRPr>
          </a:p>
          <a:p>
            <a:pPr marL="83213" marR="0" lvl="0" indent="-171450" algn="l" defTabSz="914400" rtl="0" eaLnBrk="1" fontAlgn="auto" latinLnBrk="0" hangingPunct="1">
              <a:lnSpc>
                <a:spcPts val="132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83679" algn="l"/>
              </a:tabLst>
              <a:defRPr/>
            </a:pPr>
            <a:endParaRPr lang="pl-PL" sz="1400" dirty="0"/>
          </a:p>
          <a:p>
            <a:pPr marL="83213" marR="0" lvl="0" indent="-171450" algn="l" defTabSz="914400" rtl="0" eaLnBrk="1" fontAlgn="auto" latinLnBrk="0" hangingPunct="1">
              <a:lnSpc>
                <a:spcPts val="1321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83679" algn="l"/>
              </a:tabLst>
              <a:defRPr/>
            </a:pPr>
            <a:endParaRPr lang="pl-PL" sz="1200" b="0" kern="1200" dirty="0">
              <a:solidFill>
                <a:schemeClr val="tx1"/>
              </a:solidFill>
              <a:latin typeface="Gilroy Light" panose="00000400000000000000" pitchFamily="50" charset="-18"/>
              <a:ea typeface="+mn-ea"/>
              <a:cs typeface="+mn-cs"/>
            </a:endParaRPr>
          </a:p>
        </p:txBody>
      </p:sp>
      <p:sp>
        <p:nvSpPr>
          <p:cNvPr id="47" name="object 30">
            <a:extLst>
              <a:ext uri="{FF2B5EF4-FFF2-40B4-BE49-F238E27FC236}">
                <a16:creationId xmlns:a16="http://schemas.microsoft.com/office/drawing/2014/main" id="{2B784891-1F00-ABD8-F512-1AE8D45902D8}"/>
              </a:ext>
            </a:extLst>
          </p:cNvPr>
          <p:cNvSpPr txBox="1"/>
          <p:nvPr/>
        </p:nvSpPr>
        <p:spPr>
          <a:xfrm>
            <a:off x="491927" y="1196237"/>
            <a:ext cx="1295871" cy="627451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 marR="4713" indent="230348">
              <a:spcBef>
                <a:spcPts val="47"/>
              </a:spcBef>
            </a:pPr>
            <a:r>
              <a:rPr lang="pl-PL" sz="4000" spc="74" dirty="0">
                <a:solidFill>
                  <a:schemeClr val="bg1">
                    <a:lumMod val="75000"/>
                  </a:schemeClr>
                </a:solidFill>
                <a:latin typeface="Gilroy ExtraBold" panose="00000900000000000000" pitchFamily="50" charset="-18"/>
                <a:cs typeface="Gilroy Light"/>
              </a:rPr>
              <a:t>4</a:t>
            </a:r>
            <a:endParaRPr lang="pl-PL" sz="4000" dirty="0">
              <a:solidFill>
                <a:schemeClr val="bg1">
                  <a:lumMod val="75000"/>
                </a:schemeClr>
              </a:solidFill>
              <a:latin typeface="Gilroy ExtraBold" panose="00000900000000000000" pitchFamily="50" charset="-18"/>
              <a:cs typeface="Gilroy Light"/>
            </a:endParaRPr>
          </a:p>
        </p:txBody>
      </p:sp>
      <p:sp>
        <p:nvSpPr>
          <p:cNvPr id="48" name="object 79">
            <a:extLst>
              <a:ext uri="{FF2B5EF4-FFF2-40B4-BE49-F238E27FC236}">
                <a16:creationId xmlns:a16="http://schemas.microsoft.com/office/drawing/2014/main" id="{13951D7F-84BA-240E-708F-D291EECC1D40}"/>
              </a:ext>
            </a:extLst>
          </p:cNvPr>
          <p:cNvSpPr txBox="1"/>
          <p:nvPr/>
        </p:nvSpPr>
        <p:spPr>
          <a:xfrm>
            <a:off x="1273547" y="1463811"/>
            <a:ext cx="8904774" cy="319675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>
              <a:spcBef>
                <a:spcPts val="93"/>
              </a:spcBef>
            </a:pPr>
            <a:r>
              <a:rPr lang="pl-PL" sz="2000" b="1" spc="-14" dirty="0">
                <a:cs typeface="Gilroy Light"/>
              </a:rPr>
              <a:t>WPROWADZENIE CŁA NA IMPORT PŁYTEK CERAMICZNYCH  Z INDII I TURCJI / AD684</a:t>
            </a:r>
            <a:endParaRPr lang="pl-PL" sz="2000" spc="-14" dirty="0">
              <a:latin typeface="Gilroy ExtraBold" panose="00000900000000000000" pitchFamily="50" charset="-18"/>
              <a:cs typeface="Gilroy Light"/>
            </a:endParaRP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3982B41A-2808-1ECC-F6C1-D3884AEAD77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77323" y="1823688"/>
            <a:ext cx="4179699" cy="5977739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E4478B0E-246E-CEE1-F8EB-7A655DE5C992}"/>
              </a:ext>
            </a:extLst>
          </p:cNvPr>
          <p:cNvSpPr txBox="1"/>
          <p:nvPr/>
        </p:nvSpPr>
        <p:spPr>
          <a:xfrm>
            <a:off x="1201180" y="1739346"/>
            <a:ext cx="681570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dirty="0"/>
              <a:t>Od ośmiu sezonów import płytek ceramicznych do Polski rośnie w szybkim tempie. Już około 40% płytek sprzedawanych w Polsce stanowią produkty zagraniczne.</a:t>
            </a: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80091D42-BCA8-A4EF-D357-92FE1B62CD5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261796" y="1823688"/>
            <a:ext cx="4049167" cy="5977739"/>
          </a:xfrm>
          <a:prstGeom prst="rect">
            <a:avLst/>
          </a:prstGeom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id="{2C8A5403-3953-6437-7972-0EF5204B98E1}"/>
              </a:ext>
            </a:extLst>
          </p:cNvPr>
          <p:cNvSpPr txBox="1"/>
          <p:nvPr/>
        </p:nvSpPr>
        <p:spPr>
          <a:xfrm>
            <a:off x="1009168" y="7174340"/>
            <a:ext cx="716047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b="1" spc="-14" dirty="0">
                <a:cs typeface="Gilroy Light"/>
              </a:rPr>
              <a:t>PRZEDŁUŻENIE CŁA NA IMPORT PŁYTEK CERAMICZNYCH  Z CHIN</a:t>
            </a:r>
            <a:br>
              <a:rPr lang="pl-PL" sz="2000" b="1" spc="-14" dirty="0">
                <a:cs typeface="Gilroy Light"/>
              </a:rPr>
            </a:br>
            <a:r>
              <a:rPr lang="pl-PL" sz="2000" dirty="0"/>
              <a:t>W XI 2022 roku Komisja Europejska rozpoczęła proces przedłużenia cła na import płytek ceramicznych z Chin</a:t>
            </a:r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8E8D6A32-7015-D22F-31D1-10AB9137EC04}"/>
              </a:ext>
            </a:extLst>
          </p:cNvPr>
          <p:cNvSpPr txBox="1"/>
          <p:nvPr/>
        </p:nvSpPr>
        <p:spPr>
          <a:xfrm>
            <a:off x="10067172" y="7902733"/>
            <a:ext cx="83351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cs typeface="Times New Roman" panose="02020603050405020304" pitchFamily="18" charset="0"/>
              </a:rPr>
              <a:t>na podstawie Centrum Analiz Branżowych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2130297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C5FACCBB-6994-4084-B7B4-BDE597DA8F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5" imgH="416" progId="TCLayout.ActiveDocument.1">
                  <p:embed/>
                </p:oleObj>
              </mc:Choice>
              <mc:Fallback>
                <p:oleObj name="think-cell Slide" r:id="rId25" imgW="415" imgH="41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C5FACCBB-6994-4084-B7B4-BDE597DA8F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Obraz 21">
            <a:extLst>
              <a:ext uri="{FF2B5EF4-FFF2-40B4-BE49-F238E27FC236}">
                <a16:creationId xmlns:a16="http://schemas.microsoft.com/office/drawing/2014/main" id="{6606AAF4-A9F3-D123-3589-35F91C535333}"/>
              </a:ext>
            </a:extLst>
          </p:cNvPr>
          <p:cNvPicPr>
            <a:picLocks noChangeAspect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64" b="32234"/>
          <a:stretch/>
        </p:blipFill>
        <p:spPr>
          <a:xfrm>
            <a:off x="1633733" y="1063948"/>
            <a:ext cx="14483919" cy="90855"/>
          </a:xfrm>
          <a:prstGeom prst="rect">
            <a:avLst/>
          </a:prstGeom>
        </p:spPr>
      </p:pic>
      <p:pic>
        <p:nvPicPr>
          <p:cNvPr id="23" name="Obraz 22">
            <a:extLst>
              <a:ext uri="{FF2B5EF4-FFF2-40B4-BE49-F238E27FC236}">
                <a16:creationId xmlns:a16="http://schemas.microsoft.com/office/drawing/2014/main" id="{8BF4C95F-BE67-0DDF-E02E-575A0B87DD81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24" y="370285"/>
            <a:ext cx="2051348" cy="451735"/>
          </a:xfrm>
          <a:prstGeom prst="rect">
            <a:avLst/>
          </a:prstGeom>
        </p:spPr>
      </p:pic>
      <p:pic>
        <p:nvPicPr>
          <p:cNvPr id="24" name="Obraz 23">
            <a:extLst>
              <a:ext uri="{FF2B5EF4-FFF2-40B4-BE49-F238E27FC236}">
                <a16:creationId xmlns:a16="http://schemas.microsoft.com/office/drawing/2014/main" id="{E1289A76-9FB8-172C-1588-B4B4C83299C0}"/>
              </a:ext>
            </a:extLst>
          </p:cNvPr>
          <p:cNvPicPr>
            <a:picLocks noChangeAspect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1" t="-2998" r="9208" b="17911"/>
          <a:stretch/>
        </p:blipFill>
        <p:spPr>
          <a:xfrm>
            <a:off x="0" y="7878208"/>
            <a:ext cx="16560799" cy="103883"/>
          </a:xfrm>
          <a:prstGeom prst="rect">
            <a:avLst/>
          </a:prstGeom>
        </p:spPr>
      </p:pic>
      <p:sp>
        <p:nvSpPr>
          <p:cNvPr id="28" name="object 79">
            <a:extLst>
              <a:ext uri="{FF2B5EF4-FFF2-40B4-BE49-F238E27FC236}">
                <a16:creationId xmlns:a16="http://schemas.microsoft.com/office/drawing/2014/main" id="{01AF504C-4CD2-799D-737E-E37E4D5264EC}"/>
              </a:ext>
            </a:extLst>
          </p:cNvPr>
          <p:cNvSpPr txBox="1"/>
          <p:nvPr/>
        </p:nvSpPr>
        <p:spPr>
          <a:xfrm>
            <a:off x="762123" y="1289778"/>
            <a:ext cx="15022324" cy="948052"/>
          </a:xfrm>
          <a:prstGeom prst="rect">
            <a:avLst/>
          </a:prstGeom>
        </p:spPr>
        <p:txBody>
          <a:bodyPr vert="horz" wrap="square" lIns="0" tIns="11783" rIns="0" bIns="0" rtlCol="0">
            <a:spAutoFit/>
          </a:bodyPr>
          <a:lstStyle/>
          <a:p>
            <a:pPr marL="11783">
              <a:spcBef>
                <a:spcPts val="93"/>
              </a:spcBef>
            </a:pPr>
            <a:r>
              <a:rPr lang="pl-PL" sz="4000" spc="74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5</a:t>
            </a:r>
            <a:r>
              <a:rPr lang="pl-PL" sz="4000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 </a:t>
            </a:r>
            <a:r>
              <a:rPr lang="pl-PL" sz="1600" dirty="0">
                <a:solidFill>
                  <a:srgbClr val="BFBFBF"/>
                </a:solidFill>
                <a:latin typeface="Gilroy ExtraBold" panose="00000900000000000000" pitchFamily="50" charset="-18"/>
                <a:cs typeface="Gilroy Light"/>
              </a:rPr>
              <a:t>  </a:t>
            </a:r>
            <a:r>
              <a:rPr lang="pl-PL" sz="2000" b="1" spc="-14" dirty="0" err="1">
                <a:cs typeface="Gilroy Light"/>
              </a:rPr>
              <a:t>MRiT</a:t>
            </a:r>
            <a:r>
              <a:rPr lang="pl-PL" sz="2000" b="1" spc="-14" dirty="0">
                <a:cs typeface="Gilroy Light"/>
              </a:rPr>
              <a:t>:  VIII - XI 2022r. – KONSULTACJE W RAMACH ZESPOŁU DS. PRZEMYSŁOWO-ENERGETYCZNYCH</a:t>
            </a:r>
          </a:p>
          <a:p>
            <a:pPr marL="11783">
              <a:spcBef>
                <a:spcPts val="93"/>
              </a:spcBef>
            </a:pPr>
            <a:r>
              <a:rPr lang="pl-PL" sz="2000" b="1" spc="-14" dirty="0">
                <a:cs typeface="Gilroy Light"/>
              </a:rPr>
              <a:t>   </a:t>
            </a:r>
          </a:p>
        </p:txBody>
      </p:sp>
      <p:sp useBgFill="1">
        <p:nvSpPr>
          <p:cNvPr id="44" name="Symbol zastępczy tekstu 2">
            <a:extLst>
              <a:ext uri="{FF2B5EF4-FFF2-40B4-BE49-F238E27FC236}">
                <a16:creationId xmlns:a16="http://schemas.microsoft.com/office/drawing/2014/main" id="{37ACA3FA-43D3-F969-5B64-4AE5E36655A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874174" y="5586291"/>
            <a:ext cx="204918" cy="124399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 useBgFill="1">
        <p:nvSpPr>
          <p:cNvPr id="50" name="Symbol zastępczy tekstu 2">
            <a:extLst>
              <a:ext uri="{FF2B5EF4-FFF2-40B4-BE49-F238E27FC236}">
                <a16:creationId xmlns:a16="http://schemas.microsoft.com/office/drawing/2014/main" id="{32D859A7-7144-5FF0-5A69-6F742837248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3098854" y="3769784"/>
            <a:ext cx="246068" cy="1380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8006" tIns="0" rIns="18006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000" dirty="0">
              <a:solidFill>
                <a:srgbClr val="C00000"/>
              </a:solidFill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58" name="pole tekstowe 16">
            <a:extLst>
              <a:ext uri="{FF2B5EF4-FFF2-40B4-BE49-F238E27FC236}">
                <a16:creationId xmlns:a16="http://schemas.microsoft.com/office/drawing/2014/main" id="{E3351ADE-8716-82A9-76F0-615B7F9CAA69}"/>
              </a:ext>
            </a:extLst>
          </p:cNvPr>
          <p:cNvSpPr txBox="1"/>
          <p:nvPr/>
        </p:nvSpPr>
        <p:spPr>
          <a:xfrm>
            <a:off x="3531983" y="242201"/>
            <a:ext cx="11180716" cy="85328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r" rtl="0"/>
            <a:r>
              <a:rPr lang="pl-PL" sz="2400" dirty="0">
                <a:latin typeface="Gilroy Light" panose="00000400000000000000" pitchFamily="50" charset="-18"/>
              </a:rPr>
              <a:t>BRANŻA PŁYTEK CERAMICZNYCH   |   KLUCZOWE PROBLEMY</a:t>
            </a:r>
          </a:p>
        </p:txBody>
      </p:sp>
      <p:sp>
        <p:nvSpPr>
          <p:cNvPr id="66" name="Symbol zastępczy tekstu 2">
            <a:extLst>
              <a:ext uri="{FF2B5EF4-FFF2-40B4-BE49-F238E27FC236}">
                <a16:creationId xmlns:a16="http://schemas.microsoft.com/office/drawing/2014/main" id="{2E9D4379-B809-FA2E-31EB-6F86090903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8329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7" name="Symbol zastępczy tekstu 2">
            <a:extLst>
              <a:ext uri="{FF2B5EF4-FFF2-40B4-BE49-F238E27FC236}">
                <a16:creationId xmlns:a16="http://schemas.microsoft.com/office/drawing/2014/main" id="{2138C451-BF7A-9821-EBE5-150717F7385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59197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8" name="Symbol zastępczy tekstu 2">
            <a:extLst>
              <a:ext uri="{FF2B5EF4-FFF2-40B4-BE49-F238E27FC236}">
                <a16:creationId xmlns:a16="http://schemas.microsoft.com/office/drawing/2014/main" id="{98D0C4AE-7ECB-E5AF-059E-ACEA6C02FBF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383930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69" name="Symbol zastępczy tekstu 2">
            <a:extLst>
              <a:ext uri="{FF2B5EF4-FFF2-40B4-BE49-F238E27FC236}">
                <a16:creationId xmlns:a16="http://schemas.microsoft.com/office/drawing/2014/main" id="{7D8C7D9A-21B3-9B65-910C-8D3C59F2634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31028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0" name="Symbol zastępczy tekstu 2">
            <a:extLst>
              <a:ext uri="{FF2B5EF4-FFF2-40B4-BE49-F238E27FC236}">
                <a16:creationId xmlns:a16="http://schemas.microsoft.com/office/drawing/2014/main" id="{17672053-4179-6CDF-716E-412F1F621A7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75453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1" name="Symbol zastępczy tekstu 2">
            <a:extLst>
              <a:ext uri="{FF2B5EF4-FFF2-40B4-BE49-F238E27FC236}">
                <a16:creationId xmlns:a16="http://schemas.microsoft.com/office/drawing/2014/main" id="{BC1BE9E6-C0FF-E1DB-0C6F-1584D1BB240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08413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2" name="Symbol zastępczy tekstu 2">
            <a:extLst>
              <a:ext uri="{FF2B5EF4-FFF2-40B4-BE49-F238E27FC236}">
                <a16:creationId xmlns:a16="http://schemas.microsoft.com/office/drawing/2014/main" id="{67A6F60D-29F7-6188-678F-8BB4A871D06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372663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3" name="Symbol zastępczy tekstu 2">
            <a:extLst>
              <a:ext uri="{FF2B5EF4-FFF2-40B4-BE49-F238E27FC236}">
                <a16:creationId xmlns:a16="http://schemas.microsoft.com/office/drawing/2014/main" id="{FAAA3231-8319-2AD3-C10C-6DC132523C3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34810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4" name="Symbol zastępczy tekstu 2">
            <a:extLst>
              <a:ext uri="{FF2B5EF4-FFF2-40B4-BE49-F238E27FC236}">
                <a16:creationId xmlns:a16="http://schemas.microsoft.com/office/drawing/2014/main" id="{62454E12-B5A2-B9C9-6BFC-0A66F9ACCA5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955961" y="7242970"/>
            <a:ext cx="296081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5" name="Symbol zastępczy tekstu 2">
            <a:extLst>
              <a:ext uri="{FF2B5EF4-FFF2-40B4-BE49-F238E27FC236}">
                <a16:creationId xmlns:a16="http://schemas.microsoft.com/office/drawing/2014/main" id="{E9D88C3A-E7E1-E319-BA54-DB3A67A72AA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02522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6" name="Symbol zastępczy tekstu 2">
            <a:extLst>
              <a:ext uri="{FF2B5EF4-FFF2-40B4-BE49-F238E27FC236}">
                <a16:creationId xmlns:a16="http://schemas.microsoft.com/office/drawing/2014/main" id="{7BC11D14-C21D-440F-D43F-EB1D22A6D16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473688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7" name="Symbol zastępczy tekstu 2">
            <a:extLst>
              <a:ext uri="{FF2B5EF4-FFF2-40B4-BE49-F238E27FC236}">
                <a16:creationId xmlns:a16="http://schemas.microsoft.com/office/drawing/2014/main" id="{31024E1D-F097-96AC-1D40-0A9842C24DE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15989" y="7242970"/>
            <a:ext cx="338093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8" name="Symbol zastępczy tekstu 2">
            <a:extLst>
              <a:ext uri="{FF2B5EF4-FFF2-40B4-BE49-F238E27FC236}">
                <a16:creationId xmlns:a16="http://schemas.microsoft.com/office/drawing/2014/main" id="{F8040A55-FC5B-569D-80B1-974B5411428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538243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79" name="Symbol zastępczy tekstu 2">
            <a:extLst>
              <a:ext uri="{FF2B5EF4-FFF2-40B4-BE49-F238E27FC236}">
                <a16:creationId xmlns:a16="http://schemas.microsoft.com/office/drawing/2014/main" id="{46ECE8B2-0222-2700-1AD9-800A65E130A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526382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0" name="Symbol zastępczy tekstu 2">
            <a:extLst>
              <a:ext uri="{FF2B5EF4-FFF2-40B4-BE49-F238E27FC236}">
                <a16:creationId xmlns:a16="http://schemas.microsoft.com/office/drawing/2014/main" id="{B4A5448C-D6F6-2B2C-0743-73064C7F8D6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255216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1" name="Symbol zastępczy tekstu 2">
            <a:extLst>
              <a:ext uri="{FF2B5EF4-FFF2-40B4-BE49-F238E27FC236}">
                <a16:creationId xmlns:a16="http://schemas.microsoft.com/office/drawing/2014/main" id="{93F9327B-6BF1-FFAE-4A5B-40EA0E18F10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974367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2" name="Symbol zastępczy tekstu 2">
            <a:extLst>
              <a:ext uri="{FF2B5EF4-FFF2-40B4-BE49-F238E27FC236}">
                <a16:creationId xmlns:a16="http://schemas.microsoft.com/office/drawing/2014/main" id="{48BCECF2-7E7A-B169-1751-316929C45B3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67246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3" name="Symbol zastępczy tekstu 2">
            <a:extLst>
              <a:ext uri="{FF2B5EF4-FFF2-40B4-BE49-F238E27FC236}">
                <a16:creationId xmlns:a16="http://schemas.microsoft.com/office/drawing/2014/main" id="{C05F78E8-F004-A3FB-2D44-9044FED5334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105081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84" name="Symbol zastępczy tekstu 2">
            <a:extLst>
              <a:ext uri="{FF2B5EF4-FFF2-40B4-BE49-F238E27FC236}">
                <a16:creationId xmlns:a16="http://schemas.microsoft.com/office/drawing/2014/main" id="{C8E3E179-8875-DA8C-F78B-FE0732B8F99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831915" y="7242970"/>
            <a:ext cx="492134" cy="138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1200" dirty="0">
              <a:latin typeface="Gilroy Light" panose="00000400000000000000" pitchFamily="50" charset="-18"/>
              <a:sym typeface="Century Gothic" panose="020B0502020202020204" pitchFamily="34" charset="0"/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0D69B307-04D6-9BFA-EA67-87ABA20F47A4}"/>
              </a:ext>
            </a:extLst>
          </p:cNvPr>
          <p:cNvSpPr txBox="1"/>
          <p:nvPr/>
        </p:nvSpPr>
        <p:spPr>
          <a:xfrm>
            <a:off x="257908" y="2362174"/>
            <a:ext cx="9899865" cy="5585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0215" algn="ctr"/>
              </a:tabLst>
            </a:pPr>
            <a:r>
              <a:rPr lang="pl-PL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ogram na rok 2022 - „</a:t>
            </a:r>
            <a:r>
              <a:rPr lang="pl-PL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moc dla sektorów energochłonnych związana z nagłymi wzrostami cen gazu ziemnego i energii elektrycznej</a:t>
            </a:r>
            <a:r>
              <a:rPr lang="pl-PL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” został przygotowany na podstawie </a:t>
            </a:r>
            <a:r>
              <a:rPr lang="pl-PL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stawy z 29 września 2022 r. </a:t>
            </a:r>
            <a:r>
              <a:rPr lang="pl-PL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„</a:t>
            </a:r>
            <a:r>
              <a:rPr lang="pl-PL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 zasadach realizacji programów wsparcia przedsiębiorców w związku z sytuacją na rynku energii w latach 2022-2024</a:t>
            </a:r>
            <a:r>
              <a:rPr lang="pl-PL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” (Dz.U. poz. 2088).</a:t>
            </a:r>
            <a:br>
              <a:rPr lang="pl-PL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pl-PL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usi odpowiadać unijnym wymogom i uwzględniać unijne Wytyczne </a:t>
            </a:r>
            <a:r>
              <a:rPr lang="pl-PL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„Tymczasowe kryzysowe ramy środków pomocy państwa w celu wsparcia gospodarki po agresji Rosji wobec Ukrainy”, </a:t>
            </a:r>
            <a:r>
              <a:rPr lang="pl-PL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zedstawione przez Komisję Europejską 28.10.2022r.</a:t>
            </a:r>
          </a:p>
          <a:p>
            <a:pPr marL="285750" lvl="0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0215" algn="ctr"/>
              </a:tabLst>
            </a:pPr>
            <a:r>
              <a:rPr lang="pl-PL" sz="2000" dirty="0"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W dniach </a:t>
            </a:r>
            <a:r>
              <a:rPr lang="pl-PL" sz="2000" b="1" dirty="0"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od 11.08.2022r. do 10.11.2022r.</a:t>
            </a:r>
            <a:r>
              <a:rPr lang="pl-PL" sz="2000" dirty="0"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, przeprowadzono szereg spotkań w Ministerstwie Rozwoju i Technologii w ramach </a:t>
            </a:r>
            <a:r>
              <a:rPr lang="pl-PL" sz="2000" b="1" dirty="0"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Zespołu ds. Przemysłowo – Energetycznych</a:t>
            </a:r>
            <a:r>
              <a:rPr lang="pl-PL" sz="2000" dirty="0"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, w ramach grupy roboczej, która dyskutowała możliwości wdrożenia "Tymczasowych kryzysowych ram środków pomocy państwa w celu wsparcia gospodarki po agresji Rosji wobec Ukrainy", w zakresie przeciwdziałania wzrostowi cen energii elektrycznej i gazu.</a:t>
            </a:r>
          </a:p>
          <a:p>
            <a:pPr marL="285750" lvl="0" indent="-2857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0215" algn="ctr"/>
              </a:tabLst>
            </a:pPr>
            <a:r>
              <a:rPr lang="pl-PL" sz="2000" b="1" dirty="0">
                <a:ea typeface="Trebuchet MS" panose="020B0603020202020204" pitchFamily="34" charset="0"/>
                <a:cs typeface="Times New Roman" panose="02020603050405020304" pitchFamily="18" charset="0"/>
              </a:rPr>
              <a:t>W dniach od 09-23.02.2023r. </a:t>
            </a:r>
            <a:r>
              <a:rPr lang="pl-PL" sz="2000" dirty="0">
                <a:ea typeface="Trebuchet MS" panose="020B0603020202020204" pitchFamily="34" charset="0"/>
                <a:cs typeface="Times New Roman" panose="02020603050405020304" pitchFamily="18" charset="0"/>
              </a:rPr>
              <a:t>– Uruchomienie programu wsparcia poprzez możliwość składania wniosków o dofinansowanie przedsiębiorstw z sektora energochłonnego poprzez NFOŚiGW.</a:t>
            </a:r>
            <a:endParaRPr lang="pl-PL" sz="2000" dirty="0">
              <a:effectLst/>
              <a:ea typeface="Trebuchet MS" panose="020B0603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 descr="Ministerstwo Rozwoju i Technologii">
            <a:hlinkClick r:id="rId30"/>
            <a:extLst>
              <a:ext uri="{FF2B5EF4-FFF2-40B4-BE49-F238E27FC236}">
                <a16:creationId xmlns:a16="http://schemas.microsoft.com/office/drawing/2014/main" id="{197F2896-44C4-8BA8-6B47-9F87AA18D9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7657" y="971328"/>
            <a:ext cx="5258215" cy="1702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Wsparcie dla firm energochłonnych">
            <a:extLst>
              <a:ext uri="{FF2B5EF4-FFF2-40B4-BE49-F238E27FC236}">
                <a16:creationId xmlns:a16="http://schemas.microsoft.com/office/drawing/2014/main" id="{C3D0159E-8AEB-B730-41DB-B89CB8812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216" y="2766758"/>
            <a:ext cx="6166016" cy="2601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id="{00CCE4E7-2CCD-8F3F-7B1A-6FB1132BC4B2}"/>
              </a:ext>
            </a:extLst>
          </p:cNvPr>
          <p:cNvSpPr txBox="1"/>
          <p:nvPr/>
        </p:nvSpPr>
        <p:spPr>
          <a:xfrm>
            <a:off x="10914436" y="5865246"/>
            <a:ext cx="493993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b="1" dirty="0"/>
              <a:t>Limit wydatków przewidzianych na wsparcie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2000" b="1" dirty="0"/>
              <a:t>2022 – 5,79 mld PL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2000" b="1" dirty="0"/>
              <a:t>2023 – 8,21 mld PL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2000" b="1" dirty="0"/>
              <a:t>2024 – 4,12 mld PLN</a:t>
            </a:r>
          </a:p>
        </p:txBody>
      </p:sp>
    </p:spTree>
    <p:extLst>
      <p:ext uri="{BB962C8B-B14F-4D97-AF65-F5344CB8AC3E}">
        <p14:creationId xmlns:p14="http://schemas.microsoft.com/office/powerpoint/2010/main" val="3947358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TXk8WbvzT0CpagtLVAb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XNi9DTH.1zwyB9yq_In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O1D7G5QKnlJZW_d9UgZ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_f2m37K1JeykAxAZju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cJtHobTD4Jv42Jh8d4M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jd3DQQavrlv3howVxXR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SZSEND1869H7wc_WT1K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kP9lun22GiqPEJSOHpZ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7dnuJniYKnCc7yr.Vm2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Nc.6qoiUwAogyweogm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IgRnUu2vSbxgyt8Px9Q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TXk8WbvzT0CpagtLVAb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IgRnUu2vSbxgyt8Px9Q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B7uQQxbRX5lrOWEJFOa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5exJXKvpmm05.4sncp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uejBE0_qhYLeTaEgbUf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pVYoQ8ShfPa94EHwk4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OjiDArSiYbp1vbiVLQ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JDvMqhUDJNeCvye.rq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Qt71e2BnCkl9G4GltM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27hW9X0BV.mPPyNMm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B7uQQxbRX5lrOWEJFOa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PysMTX1SaYnSuxmyJ6f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yJXeM4ChcooVmESuqC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XNi9DTH.1zwyB9yq_In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_f2m37K1JeykAxAZju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cJtHobTD4Jv42Jh8d4M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jd3DQQavrlv3howVxXR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SZSEND1869H7wc_WT1K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kP9lun22GiqPEJSOHpZ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7dnuJniYKnCc7yr.Vm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5exJXKvpmm05.4sncp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Nc.6qoiUwAogyweogmd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TXk8WbvzT0CpagtLVAb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IgRnUu2vSbxgyt8Px9Q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B7uQQxbRX5lrOWEJFOa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5exJXKvpmm05.4sncp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uejBE0_qhYLeTaEgbUf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pVYoQ8ShfPa94EHwk4g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OjiDArSiYbp1vbiVLQR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JDvMqhUDJNeCvye.rq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Qt71e2BnCkl9G4Glt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uejBE0_qhYLeTaEgbUf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27hW9X0BV.mPPyNMmq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PysMTX1SaYnSuxmyJ6f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yJXeM4ChcooVmESuqC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XNi9DTH.1zwyB9yq_In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O1D7G5QKnlJZW_d9UgZ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_f2m37K1JeykAxAZju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cJtHobTD4Jv42Jh8d4M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jd3DQQavrlv3howVxX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SZSEND1869H7wc_WT1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pVYoQ8ShfPa94EHwk4g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kP9lun22GiqPEJSOHpZ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7dnuJniYKnCc7yr.Vm2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Nc.6qoiUwAogyweogmd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TXk8WbvzT0CpagtLVAb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IgRnUu2vSbxgyt8Px9Q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B7uQQxbRX5lrOWEJFOa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5exJXKvpmm05.4sncp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uejBE0_qhYLeTaEgbUf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pVYoQ8ShfPa94EHwk4g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OjiDArSiYbp1vbiVLQ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OjiDArSiYbp1vbiVLQR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JDvMqhUDJNeCvye.rq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Qt71e2BnCkl9G4GltM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27hW9X0BV.mPPyNMmq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PysMTX1SaYnSuxmyJ6f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yJXeM4ChcooVmESuqC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XNi9DTH.1zwyB9yq_In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O1D7G5QKnlJZW_d9UgZ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_f2m37K1JeykAxAZju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cJtHobTD4Jv42Jh8d4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JDvMqhUDJNeCvye.rq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jd3DQQavrlv3howVxXR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SZSEND1869H7wc_WT1K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kP9lun22GiqPEJSOHpZ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7dnuJniYKnCc7yr.Vm2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Nc.6qoiUwAogyweogmd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TXk8WbvzT0CpagtLVAb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IgRnUu2vSbxgyt8Px9Q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B7uQQxbRX5lrOWEJFOa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5exJXKvpmm05.4sncp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uejBE0_qhYLeTaEgbU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ezn9qpaCc4H6KVvzKlZ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pVYoQ8ShfPa94EHwk4g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OjiDArSiYbp1vbiVLQR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JDvMqhUDJNeCvye.rq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Qt71e2BnCkl9G4GltM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27hW9X0BV.mPPyNMmq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PysMTX1SaYnSuxmyJ6f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yJXeM4ChcooVmESuqC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XNi9DTH.1zwyB9yq_In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O1D7G5QKnlJZW_d9UgZ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_f2m37K1JeykAxAZj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Qt71e2BnCkl9G4GltM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cJtHobTD4Jv42Jh8d4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27hW9X0BV.mPPyNMm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PysMTX1SaYnSuxmyJ6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dixxbcfe6SHUX4Ba0a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yJXeM4ChcooVmESuq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XNi9DTH.1zwyB9yq_I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O1D7G5QKnlJZW_d9Ug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ywIqIa0wYgRJ0SYqAV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_f2m37K1JeykAxAZj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ZySJ6ySOFjskVE1ZF.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cJtHobTD4Jv42Jh8d4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r6sKEOeyxrlmdyE1yvh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Gs3fvYYI7GX9pp4pNq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ZySJ6ySOFjskVE1ZF.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27hW9X0BV.mPPyNMm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gupbKDcJlHROGK7Pij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jd3DQQavrlv3howVxX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SZSEND1869H7wc_WT1K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r6sKEOeyxrlmdyE1yv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Gs3fvYYI7GX9pp4pNq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kP9lun22GiqPEJSOHpZ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7dnuJniYKnCc7yr.Vm2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Nc.6qoiUwAogyweogmd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TXk8WbvzT0CpagtLVAb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IgRnUu2vSbxgyt8Px9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B7uQQxbRX5lrOWEJFO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5exJXKvpmm05.4snc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uejBE0_qhYLeTaEgbU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pVYoQ8ShfPa94EHwk4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OjiDArSiYbp1vbiVLQ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JDvMqhUDJNeCvye.rq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Qt71e2BnCkl9G4GltM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27hW9X0BV.mPPyNMmq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PysMTX1SaYnSuxmyJ6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yJXeM4ChcooVmESuqC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XNi9DTH.1zwyB9yq_I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O1D7G5QKnlJZW_d9UgZ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_f2m37K1JeykAxAZj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cJtHobTD4Jv42Jh8d4M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27hW9X0BV.mPPyNMm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xqeYDBR8qUKWUW0tqZU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jd3DQQavrlv3howVxXR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SZSEND1869H7wc_WT1K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7dnuJniYKnCc7yr.Vm2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Nc.6qoiUwAogyweogmd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TXk8WbvzT0CpagtLVAb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IgRnUu2vSbxgyt8Px9Q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B7uQQxbRX5lrOWEJFOa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5exJXKvpmm05.4sncp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uejBE0_qhYLeTaEgbU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kP9lun22GiqPEJSOHpZ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pVYoQ8ShfPa94EHwk4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OjiDArSiYbp1vbiVLQ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JDvMqhUDJNeCvye.rq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Qt71e2BnCkl9G4GltM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27hW9X0BV.mPPyNMmq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PysMTX1SaYnSuxmyJ6f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yJXeM4ChcooVmESuq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XNi9DTH.1zwyB9yq_In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O1D7G5QKnlJZW_d9UgZ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_f2m37K1JeykAxAZj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7dnuJniYKnCc7yr.Vm2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cJtHobTD4Jv42Jh8d4M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jd3DQQavrlv3howVxXR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SZSEND1869H7wc_WT1K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kP9lun22GiqPEJSOHpZ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7dnuJniYKnCc7yr.Vm2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Nc.6qoiUwAogyweogmd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TXk8WbvzT0CpagtLVAb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IgRnUu2vSbxgyt8Px9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Nc.6qoiUwAogyweogmd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B7uQQxbRX5lrOWEJFOa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75exJXKvpmm05.4sncp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uejBE0_qhYLeTaEgbUf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pVYoQ8ShfPa94EHwk4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OjiDArSiYbp1vbiVLQR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JDvMqhUDJNeCvye.rq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Qt71e2BnCkl9G4Glt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27hW9X0BV.mPPyNMmq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PysMTX1SaYnSuxmyJ6f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yJXeM4ChcooVmESuqC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88</TotalTime>
  <Words>1650</Words>
  <Application>Microsoft Office PowerPoint</Application>
  <PresentationFormat>Niestandardowy</PresentationFormat>
  <Paragraphs>285</Paragraphs>
  <Slides>14</Slides>
  <Notes>13</Notes>
  <HiddenSlides>0</HiddenSlides>
  <MMClips>0</MMClips>
  <ScaleCrop>false</ScaleCrop>
  <HeadingPairs>
    <vt:vector size="8" baseType="variant">
      <vt:variant>
        <vt:lpstr>Używane czcionki</vt:lpstr>
      </vt:variant>
      <vt:variant>
        <vt:i4>8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4</vt:i4>
      </vt:variant>
    </vt:vector>
  </HeadingPairs>
  <TitlesOfParts>
    <vt:vector size="24" baseType="lpstr">
      <vt:lpstr>Times New Roman</vt:lpstr>
      <vt:lpstr>Calibri</vt:lpstr>
      <vt:lpstr>Gilroy Light</vt:lpstr>
      <vt:lpstr>Titillium Web</vt:lpstr>
      <vt:lpstr>Arial</vt:lpstr>
      <vt:lpstr>Gilroy ExtraBold</vt:lpstr>
      <vt:lpstr>Wingdings</vt:lpstr>
      <vt:lpstr>Symbol</vt:lpstr>
      <vt:lpstr>Office Theme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Dominik Guła</dc:creator>
  <cp:lastModifiedBy>Ferdynand Gacki</cp:lastModifiedBy>
  <cp:revision>2458</cp:revision>
  <dcterms:created xsi:type="dcterms:W3CDTF">2021-04-26T13:50:08Z</dcterms:created>
  <dcterms:modified xsi:type="dcterms:W3CDTF">2023-02-20T12:0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4-26T00:00:00Z</vt:filetime>
  </property>
  <property fmtid="{D5CDD505-2E9C-101B-9397-08002B2CF9AE}" pid="3" name="Creator">
    <vt:lpwstr>Adobe InDesign 16.0 (Windows)</vt:lpwstr>
  </property>
  <property fmtid="{D5CDD505-2E9C-101B-9397-08002B2CF9AE}" pid="4" name="LastSaved">
    <vt:filetime>2021-04-26T00:00:00Z</vt:filetime>
  </property>
</Properties>
</file>